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1518900" cy="6483350"/>
  <p:notesSz cx="11518900" cy="648335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40B594-11A8-457D-BE5E-974A3F0FC3BE}" v="96" dt="2023-05-05T08:20:30.97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9" d="100"/>
          <a:sy n="119" d="100"/>
        </p:scale>
        <p:origin x="486" y="10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ueske, Hubert" userId="c6d35959-96cb-4845-b5d4-94a9764af610" providerId="ADAL" clId="{3340B594-11A8-457D-BE5E-974A3F0FC3BE}"/>
    <pc:docChg chg="undo custSel modSld modMainMaster replTag">
      <pc:chgData name="Hueske, Hubert" userId="c6d35959-96cb-4845-b5d4-94a9764af610" providerId="ADAL" clId="{3340B594-11A8-457D-BE5E-974A3F0FC3BE}" dt="2023-05-05T08:25:13.182" v="462" actId="20577"/>
      <pc:docMkLst>
        <pc:docMk/>
      </pc:docMkLst>
      <pc:sldChg chg="addSp delSp modSp mod">
        <pc:chgData name="Hueske, Hubert" userId="c6d35959-96cb-4845-b5d4-94a9764af610" providerId="ADAL" clId="{3340B594-11A8-457D-BE5E-974A3F0FC3BE}" dt="2023-05-05T08:20:30.975" v="455"/>
        <pc:sldMkLst>
          <pc:docMk/>
          <pc:sldMk cId="0" sldId="258"/>
        </pc:sldMkLst>
        <pc:spChg chg="mod ord">
          <ac:chgData name="Hueske, Hubert" userId="c6d35959-96cb-4845-b5d4-94a9764af610" providerId="ADAL" clId="{3340B594-11A8-457D-BE5E-974A3F0FC3BE}" dt="2023-05-05T06:57:37.728" v="25"/>
          <ac:spMkLst>
            <pc:docMk/>
            <pc:sldMk cId="0" sldId="258"/>
            <ac:spMk id="2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6:57:37.729" v="27"/>
          <ac:spMkLst>
            <pc:docMk/>
            <pc:sldMk cId="0" sldId="258"/>
            <ac:spMk id="3" creationId="{00000000-0000-0000-0000-000000000000}"/>
          </ac:spMkLst>
        </pc:spChg>
        <pc:spChg chg="del">
          <ac:chgData name="Hueske, Hubert" userId="c6d35959-96cb-4845-b5d4-94a9764af610" providerId="ADAL" clId="{3340B594-11A8-457D-BE5E-974A3F0FC3BE}" dt="2023-05-05T06:56:09.443" v="0" actId="478"/>
          <ac:spMkLst>
            <pc:docMk/>
            <pc:sldMk cId="0" sldId="258"/>
            <ac:spMk id="5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7:01:16.642" v="94" actId="1076"/>
          <ac:spMkLst>
            <pc:docMk/>
            <pc:sldMk cId="0" sldId="258"/>
            <ac:spMk id="6" creationId="{00000000-0000-0000-0000-000000000000}"/>
          </ac:spMkLst>
        </pc:spChg>
        <pc:spChg chg="del mod ord">
          <ac:chgData name="Hueske, Hubert" userId="c6d35959-96cb-4845-b5d4-94a9764af610" providerId="ADAL" clId="{3340B594-11A8-457D-BE5E-974A3F0FC3BE}" dt="2023-05-05T06:57:43.034" v="74" actId="478"/>
          <ac:spMkLst>
            <pc:docMk/>
            <pc:sldMk cId="0" sldId="258"/>
            <ac:spMk id="7" creationId="{00000000-0000-0000-0000-000000000000}"/>
          </ac:spMkLst>
        </pc:spChg>
        <pc:spChg chg="del mod ord">
          <ac:chgData name="Hueske, Hubert" userId="c6d35959-96cb-4845-b5d4-94a9764af610" providerId="ADAL" clId="{3340B594-11A8-457D-BE5E-974A3F0FC3BE}" dt="2023-05-05T07:02:09.291" v="103" actId="478"/>
          <ac:spMkLst>
            <pc:docMk/>
            <pc:sldMk cId="0" sldId="258"/>
            <ac:spMk id="8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6:57:37.730" v="33"/>
          <ac:spMkLst>
            <pc:docMk/>
            <pc:sldMk cId="0" sldId="258"/>
            <ac:spMk id="9" creationId="{00000000-0000-0000-0000-000000000000}"/>
          </ac:spMkLst>
        </pc:spChg>
        <pc:spChg chg="add mod">
          <ac:chgData name="Hueske, Hubert" userId="c6d35959-96cb-4845-b5d4-94a9764af610" providerId="ADAL" clId="{3340B594-11A8-457D-BE5E-974A3F0FC3BE}" dt="2023-05-05T07:02:16.012" v="105" actId="14100"/>
          <ac:spMkLst>
            <pc:docMk/>
            <pc:sldMk cId="0" sldId="258"/>
            <ac:spMk id="31" creationId="{FAE3C4BE-0CD9-AA23-3A09-348DA3D456D7}"/>
          </ac:spMkLst>
        </pc:spChg>
        <pc:spChg chg="add mod">
          <ac:chgData name="Hueske, Hubert" userId="c6d35959-96cb-4845-b5d4-94a9764af610" providerId="ADAL" clId="{3340B594-11A8-457D-BE5E-974A3F0FC3BE}" dt="2023-05-05T07:04:39.251" v="189" actId="208"/>
          <ac:spMkLst>
            <pc:docMk/>
            <pc:sldMk cId="0" sldId="258"/>
            <ac:spMk id="32" creationId="{5EA3C8B3-7B35-B030-CC51-35776AF9DCD7}"/>
          </ac:spMkLst>
        </pc:spChg>
        <pc:spChg chg="add mod">
          <ac:chgData name="Hueske, Hubert" userId="c6d35959-96cb-4845-b5d4-94a9764af610" providerId="ADAL" clId="{3340B594-11A8-457D-BE5E-974A3F0FC3BE}" dt="2023-05-05T07:06:02.134" v="193" actId="108"/>
          <ac:spMkLst>
            <pc:docMk/>
            <pc:sldMk cId="0" sldId="258"/>
            <ac:spMk id="41" creationId="{75A2E3A4-AA6E-52C3-F1E3-89882C86D11B}"/>
          </ac:spMkLst>
        </pc:spChg>
        <pc:spChg chg="add mod">
          <ac:chgData name="Hueske, Hubert" userId="c6d35959-96cb-4845-b5d4-94a9764af610" providerId="ADAL" clId="{3340B594-11A8-457D-BE5E-974A3F0FC3BE}" dt="2023-05-05T07:06:46.200" v="251" actId="14100"/>
          <ac:spMkLst>
            <pc:docMk/>
            <pc:sldMk cId="0" sldId="258"/>
            <ac:spMk id="42" creationId="{C24F342D-1A5C-3413-F894-7E8EEA729DFD}"/>
          </ac:spMkLst>
        </pc:spChg>
        <pc:graphicFrameChg chg="add mod ord modVis replST">
          <ac:chgData name="Hueske, Hubert" userId="c6d35959-96cb-4845-b5d4-94a9764af610" providerId="ADAL" clId="{3340B594-11A8-457D-BE5E-974A3F0FC3BE}" dt="2023-05-05T06:57:37.846" v="58"/>
          <ac:graphicFrameMkLst>
            <pc:docMk/>
            <pc:sldMk cId="0" sldId="258"/>
            <ac:graphicFrameMk id="20" creationId="{74CD449A-853F-D381-BDD9-E29233D8C274}"/>
          </ac:graphicFrameMkLst>
        </pc:graphicFrameChg>
        <pc:picChg chg="add del">
          <ac:chgData name="Hueske, Hubert" userId="c6d35959-96cb-4845-b5d4-94a9764af610" providerId="ADAL" clId="{3340B594-11A8-457D-BE5E-974A3F0FC3BE}" dt="2023-05-05T06:56:16.984" v="3" actId="22"/>
          <ac:picMkLst>
            <pc:docMk/>
            <pc:sldMk cId="0" sldId="258"/>
            <ac:picMk id="10" creationId="{3469C5E6-C913-FD27-BBD9-FA6C764580F2}"/>
          </ac:picMkLst>
        </pc:picChg>
        <pc:picChg chg="del mod ord">
          <ac:chgData name="Hueske, Hubert" userId="c6d35959-96cb-4845-b5d4-94a9764af610" providerId="ADAL" clId="{3340B594-11A8-457D-BE5E-974A3F0FC3BE}" dt="2023-05-05T06:59:11.322" v="81" actId="478"/>
          <ac:picMkLst>
            <pc:docMk/>
            <pc:sldMk cId="0" sldId="258"/>
            <ac:picMk id="11" creationId="{2DE89DFA-B9CD-03A8-59A6-D2E03F4A6863}"/>
          </ac:picMkLst>
        </pc:picChg>
        <pc:picChg chg="add del">
          <ac:chgData name="Hueske, Hubert" userId="c6d35959-96cb-4845-b5d4-94a9764af610" providerId="ADAL" clId="{3340B594-11A8-457D-BE5E-974A3F0FC3BE}" dt="2023-05-05T06:56:19.817" v="6" actId="22"/>
          <ac:picMkLst>
            <pc:docMk/>
            <pc:sldMk cId="0" sldId="258"/>
            <ac:picMk id="13" creationId="{6873E741-6A7A-0EBA-4550-5345A2CD2A76}"/>
          </ac:picMkLst>
        </pc:picChg>
        <pc:picChg chg="add del">
          <ac:chgData name="Hueske, Hubert" userId="c6d35959-96cb-4845-b5d4-94a9764af610" providerId="ADAL" clId="{3340B594-11A8-457D-BE5E-974A3F0FC3BE}" dt="2023-05-05T06:56:31.031" v="9" actId="22"/>
          <ac:picMkLst>
            <pc:docMk/>
            <pc:sldMk cId="0" sldId="258"/>
            <ac:picMk id="15" creationId="{D80B99DB-775F-9EC9-D6A4-C27C4538F552}"/>
          </ac:picMkLst>
        </pc:picChg>
        <pc:picChg chg="add mod ord">
          <ac:chgData name="Hueske, Hubert" userId="c6d35959-96cb-4845-b5d4-94a9764af610" providerId="ADAL" clId="{3340B594-11A8-457D-BE5E-974A3F0FC3BE}" dt="2023-05-05T06:57:37.730" v="37"/>
          <ac:picMkLst>
            <pc:docMk/>
            <pc:sldMk cId="0" sldId="258"/>
            <ac:picMk id="17" creationId="{44406927-47D1-01F1-B9B8-75EDEC2C6EC9}"/>
          </ac:picMkLst>
        </pc:picChg>
        <pc:picChg chg="add del mod ord">
          <ac:chgData name="Hueske, Hubert" userId="c6d35959-96cb-4845-b5d4-94a9764af610" providerId="ADAL" clId="{3340B594-11A8-457D-BE5E-974A3F0FC3BE}" dt="2023-05-05T06:58:33.947" v="75" actId="478"/>
          <ac:picMkLst>
            <pc:docMk/>
            <pc:sldMk cId="0" sldId="258"/>
            <ac:picMk id="19" creationId="{A2C38393-CB9A-7D95-3EE7-F89B6FBAEEF9}"/>
          </ac:picMkLst>
        </pc:picChg>
        <pc:picChg chg="add mod">
          <ac:chgData name="Hueske, Hubert" userId="c6d35959-96cb-4845-b5d4-94a9764af610" providerId="ADAL" clId="{3340B594-11A8-457D-BE5E-974A3F0FC3BE}" dt="2023-05-05T07:00:22.559" v="88" actId="1076"/>
          <ac:picMkLst>
            <pc:docMk/>
            <pc:sldMk cId="0" sldId="258"/>
            <ac:picMk id="22" creationId="{21101DDA-045A-96A0-2AD3-CAB13950F06A}"/>
          </ac:picMkLst>
        </pc:picChg>
        <pc:picChg chg="add mod">
          <ac:chgData name="Hueske, Hubert" userId="c6d35959-96cb-4845-b5d4-94a9764af610" providerId="ADAL" clId="{3340B594-11A8-457D-BE5E-974A3F0FC3BE}" dt="2023-05-05T07:00:17.292" v="86" actId="1440"/>
          <ac:picMkLst>
            <pc:docMk/>
            <pc:sldMk cId="0" sldId="258"/>
            <ac:picMk id="24" creationId="{FE672425-65AA-FB83-D046-58D15F00016F}"/>
          </ac:picMkLst>
        </pc:picChg>
        <pc:picChg chg="add mod">
          <ac:chgData name="Hueske, Hubert" userId="c6d35959-96cb-4845-b5d4-94a9764af610" providerId="ADAL" clId="{3340B594-11A8-457D-BE5E-974A3F0FC3BE}" dt="2023-05-05T07:03:30.953" v="182" actId="1076"/>
          <ac:picMkLst>
            <pc:docMk/>
            <pc:sldMk cId="0" sldId="258"/>
            <ac:picMk id="34" creationId="{5E95E14C-CD9A-9088-AA73-40BB0150FE2C}"/>
          </ac:picMkLst>
        </pc:picChg>
        <pc:picChg chg="add del">
          <ac:chgData name="Hueske, Hubert" userId="c6d35959-96cb-4845-b5d4-94a9764af610" providerId="ADAL" clId="{3340B594-11A8-457D-BE5E-974A3F0FC3BE}" dt="2023-05-05T07:04:32.110" v="188" actId="478"/>
          <ac:picMkLst>
            <pc:docMk/>
            <pc:sldMk cId="0" sldId="258"/>
            <ac:picMk id="36" creationId="{F3FBFCBB-5EE6-34BB-851D-7672570E025A}"/>
          </ac:picMkLst>
        </pc:picChg>
        <pc:picChg chg="add mod">
          <ac:chgData name="Hueske, Hubert" userId="c6d35959-96cb-4845-b5d4-94a9764af610" providerId="ADAL" clId="{3340B594-11A8-457D-BE5E-974A3F0FC3BE}" dt="2023-05-05T07:04:29.867" v="187" actId="1076"/>
          <ac:picMkLst>
            <pc:docMk/>
            <pc:sldMk cId="0" sldId="258"/>
            <ac:picMk id="38" creationId="{2D4BCB1E-02C1-A05A-FA69-B7D336342055}"/>
          </ac:picMkLst>
        </pc:picChg>
        <pc:cxnChg chg="add mod">
          <ac:chgData name="Hueske, Hubert" userId="c6d35959-96cb-4845-b5d4-94a9764af610" providerId="ADAL" clId="{3340B594-11A8-457D-BE5E-974A3F0FC3BE}" dt="2023-05-05T07:01:37.477" v="98" actId="14100"/>
          <ac:cxnSpMkLst>
            <pc:docMk/>
            <pc:sldMk cId="0" sldId="258"/>
            <ac:cxnSpMk id="26" creationId="{2195129B-C895-2063-43C2-5006640299DF}"/>
          </ac:cxnSpMkLst>
        </pc:cxnChg>
        <pc:cxnChg chg="add mod">
          <ac:chgData name="Hueske, Hubert" userId="c6d35959-96cb-4845-b5d4-94a9764af610" providerId="ADAL" clId="{3340B594-11A8-457D-BE5E-974A3F0FC3BE}" dt="2023-05-05T08:20:30.975" v="455"/>
          <ac:cxnSpMkLst>
            <pc:docMk/>
            <pc:sldMk cId="0" sldId="258"/>
            <ac:cxnSpMk id="40" creationId="{4A75D516-85A0-FDDB-F1D7-6945B908DCC1}"/>
          </ac:cxnSpMkLst>
        </pc:cxnChg>
        <pc:cxnChg chg="add mod">
          <ac:chgData name="Hueske, Hubert" userId="c6d35959-96cb-4845-b5d4-94a9764af610" providerId="ADAL" clId="{3340B594-11A8-457D-BE5E-974A3F0FC3BE}" dt="2023-05-05T07:07:00.494" v="254" actId="14100"/>
          <ac:cxnSpMkLst>
            <pc:docMk/>
            <pc:sldMk cId="0" sldId="258"/>
            <ac:cxnSpMk id="43" creationId="{F97A678B-7E2F-9D05-FB9D-3FF1511D968A}"/>
          </ac:cxnSpMkLst>
        </pc:cxnChg>
      </pc:sldChg>
      <pc:sldChg chg="addSp delSp modSp mod">
        <pc:chgData name="Hueske, Hubert" userId="c6d35959-96cb-4845-b5d4-94a9764af610" providerId="ADAL" clId="{3340B594-11A8-457D-BE5E-974A3F0FC3BE}" dt="2023-05-05T08:25:13.182" v="462" actId="20577"/>
        <pc:sldMkLst>
          <pc:docMk/>
          <pc:sldMk cId="0" sldId="259"/>
        </pc:sldMkLst>
        <pc:spChg chg="mod ord">
          <ac:chgData name="Hueske, Hubert" userId="c6d35959-96cb-4845-b5d4-94a9764af610" providerId="ADAL" clId="{3340B594-11A8-457D-BE5E-974A3F0FC3BE}" dt="2023-05-05T08:20:04.595" v="411"/>
          <ac:spMkLst>
            <pc:docMk/>
            <pc:sldMk cId="0" sldId="259"/>
            <ac:spMk id="2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597" v="413"/>
          <ac:spMkLst>
            <pc:docMk/>
            <pc:sldMk cId="0" sldId="259"/>
            <ac:spMk id="3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597" v="415"/>
          <ac:spMkLst>
            <pc:docMk/>
            <pc:sldMk cId="0" sldId="259"/>
            <ac:spMk id="4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598" v="417"/>
          <ac:spMkLst>
            <pc:docMk/>
            <pc:sldMk cId="0" sldId="259"/>
            <ac:spMk id="5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20.478" v="454" actId="1582"/>
          <ac:spMkLst>
            <pc:docMk/>
            <pc:sldMk cId="0" sldId="259"/>
            <ac:spMk id="6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5:13.182" v="462" actId="20577"/>
          <ac:spMkLst>
            <pc:docMk/>
            <pc:sldMk cId="0" sldId="259"/>
            <ac:spMk id="7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599" v="423"/>
          <ac:spMkLst>
            <pc:docMk/>
            <pc:sldMk cId="0" sldId="259"/>
            <ac:spMk id="8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0" v="425"/>
          <ac:spMkLst>
            <pc:docMk/>
            <pc:sldMk cId="0" sldId="259"/>
            <ac:spMk id="9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0" v="427"/>
          <ac:spMkLst>
            <pc:docMk/>
            <pc:sldMk cId="0" sldId="259"/>
            <ac:spMk id="10" creationId="{00000000-0000-0000-0000-000000000000}"/>
          </ac:spMkLst>
        </pc:spChg>
        <pc:spChg chg="del">
          <ac:chgData name="Hueske, Hubert" userId="c6d35959-96cb-4845-b5d4-94a9764af610" providerId="ADAL" clId="{3340B594-11A8-457D-BE5E-974A3F0FC3BE}" dt="2023-05-05T08:13:09.070" v="255" actId="478"/>
          <ac:spMkLst>
            <pc:docMk/>
            <pc:sldMk cId="0" sldId="259"/>
            <ac:spMk id="11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0" v="429"/>
          <ac:spMkLst>
            <pc:docMk/>
            <pc:sldMk cId="0" sldId="259"/>
            <ac:spMk id="12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1" v="431"/>
          <ac:spMkLst>
            <pc:docMk/>
            <pc:sldMk cId="0" sldId="259"/>
            <ac:spMk id="13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4" v="445"/>
          <ac:spMkLst>
            <pc:docMk/>
            <pc:sldMk cId="0" sldId="259"/>
            <ac:spMk id="14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3" v="443"/>
          <ac:spMkLst>
            <pc:docMk/>
            <pc:sldMk cId="0" sldId="259"/>
            <ac:spMk id="15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1" v="433"/>
          <ac:spMkLst>
            <pc:docMk/>
            <pc:sldMk cId="0" sldId="259"/>
            <ac:spMk id="16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2" v="435"/>
          <ac:spMkLst>
            <pc:docMk/>
            <pc:sldMk cId="0" sldId="259"/>
            <ac:spMk id="17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2" v="437"/>
          <ac:spMkLst>
            <pc:docMk/>
            <pc:sldMk cId="0" sldId="259"/>
            <ac:spMk id="18" creationId="{00000000-0000-0000-0000-000000000000}"/>
          </ac:spMkLst>
        </pc:spChg>
        <pc:spChg chg="del mod ord">
          <ac:chgData name="Hueske, Hubert" userId="c6d35959-96cb-4845-b5d4-94a9764af610" providerId="ADAL" clId="{3340B594-11A8-457D-BE5E-974A3F0FC3BE}" dt="2023-05-05T08:20:07.660" v="452" actId="478"/>
          <ac:spMkLst>
            <pc:docMk/>
            <pc:sldMk cId="0" sldId="259"/>
            <ac:spMk id="19" creationId="{00000000-0000-0000-0000-000000000000}"/>
          </ac:spMkLst>
        </pc:spChg>
        <pc:spChg chg="mod ord">
          <ac:chgData name="Hueske, Hubert" userId="c6d35959-96cb-4845-b5d4-94a9764af610" providerId="ADAL" clId="{3340B594-11A8-457D-BE5E-974A3F0FC3BE}" dt="2023-05-05T08:20:04.603" v="439"/>
          <ac:spMkLst>
            <pc:docMk/>
            <pc:sldMk cId="0" sldId="259"/>
            <ac:spMk id="20" creationId="{00000000-0000-0000-0000-000000000000}"/>
          </ac:spMkLst>
        </pc:spChg>
        <pc:graphicFrameChg chg="add mod ord modVis replST">
          <ac:chgData name="Hueske, Hubert" userId="c6d35959-96cb-4845-b5d4-94a9764af610" providerId="ADAL" clId="{3340B594-11A8-457D-BE5E-974A3F0FC3BE}" dt="2023-05-05T08:20:04.607" v="451"/>
          <ac:graphicFrameMkLst>
            <pc:docMk/>
            <pc:sldMk cId="0" sldId="259"/>
            <ac:graphicFrameMk id="25" creationId="{B76CF2D9-D386-246C-ABD0-B7F30B5AB489}"/>
          </ac:graphicFrameMkLst>
        </pc:graphicFrameChg>
        <pc:picChg chg="add del mod">
          <ac:chgData name="Hueske, Hubert" userId="c6d35959-96cb-4845-b5d4-94a9764af610" providerId="ADAL" clId="{3340B594-11A8-457D-BE5E-974A3F0FC3BE}" dt="2023-05-05T08:18:25.813" v="260" actId="478"/>
          <ac:picMkLst>
            <pc:docMk/>
            <pc:sldMk cId="0" sldId="259"/>
            <ac:picMk id="22" creationId="{DD78F846-151A-2AC7-339F-3B9C5D685919}"/>
          </ac:picMkLst>
        </pc:picChg>
        <pc:picChg chg="add mod ord">
          <ac:chgData name="Hueske, Hubert" userId="c6d35959-96cb-4845-b5d4-94a9764af610" providerId="ADAL" clId="{3340B594-11A8-457D-BE5E-974A3F0FC3BE}" dt="2023-05-05T08:20:04.603" v="441"/>
          <ac:picMkLst>
            <pc:docMk/>
            <pc:sldMk cId="0" sldId="259"/>
            <ac:picMk id="24" creationId="{51B09CFD-7A4A-143E-897C-334EFC35A5B6}"/>
          </ac:picMkLst>
        </pc:picChg>
        <pc:picChg chg="add mod">
          <ac:chgData name="Hueske, Hubert" userId="c6d35959-96cb-4845-b5d4-94a9764af610" providerId="ADAL" clId="{3340B594-11A8-457D-BE5E-974A3F0FC3BE}" dt="2023-05-05T08:24:59.894" v="461" actId="1440"/>
          <ac:picMkLst>
            <pc:docMk/>
            <pc:sldMk cId="0" sldId="259"/>
            <ac:picMk id="29" creationId="{B299050D-C446-43CA-4644-0D962F44C04D}"/>
          </ac:picMkLst>
        </pc:picChg>
        <pc:cxnChg chg="add">
          <ac:chgData name="Hueske, Hubert" userId="c6d35959-96cb-4845-b5d4-94a9764af610" providerId="ADAL" clId="{3340B594-11A8-457D-BE5E-974A3F0FC3BE}" dt="2023-05-05T08:20:39.848" v="456" actId="11529"/>
          <ac:cxnSpMkLst>
            <pc:docMk/>
            <pc:sldMk cId="0" sldId="259"/>
            <ac:cxnSpMk id="27" creationId="{261F11B7-AE27-3038-8D3E-DD43A783AD43}"/>
          </ac:cxnSpMkLst>
        </pc:cxnChg>
      </pc:sldChg>
      <pc:sldMasterChg chg="addSp modSp mod">
        <pc:chgData name="Hueske, Hubert" userId="c6d35959-96cb-4845-b5d4-94a9764af610" providerId="ADAL" clId="{3340B594-11A8-457D-BE5E-974A3F0FC3BE}" dt="2023-05-05T06:57:37.860" v="73"/>
        <pc:sldMasterMkLst>
          <pc:docMk/>
          <pc:sldMasterMk cId="0" sldId="2147483648"/>
        </pc:sldMasterMkLst>
        <pc:graphicFrameChg chg="add mod ord modVis replST">
          <ac:chgData name="Hueske, Hubert" userId="c6d35959-96cb-4845-b5d4-94a9764af610" providerId="ADAL" clId="{3340B594-11A8-457D-BE5E-974A3F0FC3BE}" dt="2023-05-05T06:57:37.860" v="73"/>
          <ac:graphicFrameMkLst>
            <pc:docMk/>
            <pc:sldMasterMk cId="0" sldId="2147483648"/>
            <ac:graphicFrameMk id="7" creationId="{A0FBC8F9-1379-7317-F5F4-83FC2D4E94D8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63917" y="2009838"/>
            <a:ext cx="9791065" cy="13615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727835" y="3630676"/>
            <a:ext cx="8063230" cy="16208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E00074"/>
                </a:solidFill>
                <a:latin typeface="TeleGrotesk Headline Ultra"/>
                <a:cs typeface="TeleGrotesk Headline Ult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E00074"/>
                </a:solidFill>
                <a:latin typeface="TeleGrotesk Headline Ultra"/>
                <a:cs typeface="TeleGrotesk Headline Ult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75945" y="1491170"/>
            <a:ext cx="5010721" cy="42790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932233" y="1491170"/>
            <a:ext cx="5010721" cy="42790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1518392" cy="648004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324611" y="5807964"/>
            <a:ext cx="130810" cy="132715"/>
          </a:xfrm>
          <a:custGeom>
            <a:avLst/>
            <a:gdLst/>
            <a:ahLst/>
            <a:cxnLst/>
            <a:rect l="l" t="t" r="r" b="b"/>
            <a:pathLst>
              <a:path w="130809" h="132714">
                <a:moveTo>
                  <a:pt x="0" y="132460"/>
                </a:moveTo>
                <a:lnTo>
                  <a:pt x="130682" y="132460"/>
                </a:lnTo>
                <a:lnTo>
                  <a:pt x="130682" y="0"/>
                </a:lnTo>
                <a:lnTo>
                  <a:pt x="0" y="0"/>
                </a:lnTo>
                <a:lnTo>
                  <a:pt x="0" y="1324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723900" y="5807964"/>
            <a:ext cx="129539" cy="132715"/>
          </a:xfrm>
          <a:custGeom>
            <a:avLst/>
            <a:gdLst/>
            <a:ahLst/>
            <a:cxnLst/>
            <a:rect l="l" t="t" r="r" b="b"/>
            <a:pathLst>
              <a:path w="129540" h="132714">
                <a:moveTo>
                  <a:pt x="0" y="132460"/>
                </a:moveTo>
                <a:lnTo>
                  <a:pt x="129540" y="132460"/>
                </a:lnTo>
                <a:lnTo>
                  <a:pt x="129540" y="0"/>
                </a:lnTo>
                <a:lnTo>
                  <a:pt x="0" y="0"/>
                </a:lnTo>
                <a:lnTo>
                  <a:pt x="0" y="1324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115567" y="5807964"/>
            <a:ext cx="132715" cy="132715"/>
          </a:xfrm>
          <a:custGeom>
            <a:avLst/>
            <a:gdLst/>
            <a:ahLst/>
            <a:cxnLst/>
            <a:rect l="l" t="t" r="r" b="b"/>
            <a:pathLst>
              <a:path w="132715" h="132714">
                <a:moveTo>
                  <a:pt x="0" y="132460"/>
                </a:moveTo>
                <a:lnTo>
                  <a:pt x="132461" y="132460"/>
                </a:lnTo>
                <a:lnTo>
                  <a:pt x="132461" y="0"/>
                </a:lnTo>
                <a:lnTo>
                  <a:pt x="0" y="0"/>
                </a:lnTo>
                <a:lnTo>
                  <a:pt x="0" y="1324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1508760" y="5807964"/>
            <a:ext cx="129539" cy="132715"/>
          </a:xfrm>
          <a:custGeom>
            <a:avLst/>
            <a:gdLst/>
            <a:ahLst/>
            <a:cxnLst/>
            <a:rect l="l" t="t" r="r" b="b"/>
            <a:pathLst>
              <a:path w="129539" h="132714">
                <a:moveTo>
                  <a:pt x="0" y="132460"/>
                </a:moveTo>
                <a:lnTo>
                  <a:pt x="129540" y="132460"/>
                </a:lnTo>
                <a:lnTo>
                  <a:pt x="129540" y="0"/>
                </a:lnTo>
                <a:lnTo>
                  <a:pt x="0" y="0"/>
                </a:lnTo>
                <a:lnTo>
                  <a:pt x="0" y="1324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430352" y="6142272"/>
            <a:ext cx="317500" cy="0"/>
          </a:xfrm>
          <a:custGeom>
            <a:avLst/>
            <a:gdLst/>
            <a:ahLst/>
            <a:cxnLst/>
            <a:rect l="l" t="t" r="r" b="b"/>
            <a:pathLst>
              <a:path w="317500">
                <a:moveTo>
                  <a:pt x="0" y="0"/>
                </a:moveTo>
                <a:lnTo>
                  <a:pt x="317220" y="0"/>
                </a:lnTo>
              </a:path>
            </a:pathLst>
          </a:custGeom>
          <a:ln w="3775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467868" y="5543194"/>
            <a:ext cx="244475" cy="580390"/>
          </a:xfrm>
          <a:custGeom>
            <a:avLst/>
            <a:gdLst/>
            <a:ahLst/>
            <a:cxnLst/>
            <a:rect l="l" t="t" r="r" b="b"/>
            <a:pathLst>
              <a:path w="244475" h="580389">
                <a:moveTo>
                  <a:pt x="172262" y="0"/>
                </a:moveTo>
                <a:lnTo>
                  <a:pt x="69926" y="0"/>
                </a:lnTo>
                <a:lnTo>
                  <a:pt x="69926" y="478916"/>
                </a:lnTo>
                <a:lnTo>
                  <a:pt x="68910" y="507212"/>
                </a:lnTo>
                <a:lnTo>
                  <a:pt x="59855" y="547712"/>
                </a:lnTo>
                <a:lnTo>
                  <a:pt x="30708" y="572465"/>
                </a:lnTo>
                <a:lnTo>
                  <a:pt x="0" y="580199"/>
                </a:lnTo>
                <a:lnTo>
                  <a:pt x="243890" y="580199"/>
                </a:lnTo>
                <a:lnTo>
                  <a:pt x="199999" y="566673"/>
                </a:lnTo>
                <a:lnTo>
                  <a:pt x="177165" y="530199"/>
                </a:lnTo>
                <a:lnTo>
                  <a:pt x="172262" y="478916"/>
                </a:lnTo>
                <a:lnTo>
                  <a:pt x="17226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324611" y="5512308"/>
            <a:ext cx="523240" cy="233679"/>
          </a:xfrm>
          <a:custGeom>
            <a:avLst/>
            <a:gdLst/>
            <a:ahLst/>
            <a:cxnLst/>
            <a:rect l="l" t="t" r="r" b="b"/>
            <a:pathLst>
              <a:path w="523240" h="233679">
                <a:moveTo>
                  <a:pt x="521881" y="0"/>
                </a:moveTo>
                <a:lnTo>
                  <a:pt x="6819" y="0"/>
                </a:lnTo>
                <a:lnTo>
                  <a:pt x="0" y="228295"/>
                </a:lnTo>
                <a:lnTo>
                  <a:pt x="34099" y="233438"/>
                </a:lnTo>
                <a:lnTo>
                  <a:pt x="41173" y="186448"/>
                </a:lnTo>
                <a:lnTo>
                  <a:pt x="52235" y="145897"/>
                </a:lnTo>
                <a:lnTo>
                  <a:pt x="86969" y="84112"/>
                </a:lnTo>
                <a:lnTo>
                  <a:pt x="141122" y="45275"/>
                </a:lnTo>
                <a:lnTo>
                  <a:pt x="213182" y="30886"/>
                </a:lnTo>
                <a:lnTo>
                  <a:pt x="522808" y="30886"/>
                </a:lnTo>
                <a:lnTo>
                  <a:pt x="52188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640130" y="5543194"/>
            <a:ext cx="213182" cy="20255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8416290" y="5942838"/>
            <a:ext cx="105410" cy="0"/>
          </a:xfrm>
          <a:custGeom>
            <a:avLst/>
            <a:gdLst/>
            <a:ahLst/>
            <a:cxnLst/>
            <a:rect l="l" t="t" r="r" b="b"/>
            <a:pathLst>
              <a:path w="105409">
                <a:moveTo>
                  <a:pt x="0" y="0"/>
                </a:moveTo>
                <a:lnTo>
                  <a:pt x="104902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k object 26"/>
          <p:cNvSpPr/>
          <p:nvPr/>
        </p:nvSpPr>
        <p:spPr>
          <a:xfrm>
            <a:off x="8415528" y="5888736"/>
            <a:ext cx="34925" cy="38100"/>
          </a:xfrm>
          <a:custGeom>
            <a:avLst/>
            <a:gdLst/>
            <a:ahLst/>
            <a:cxnLst/>
            <a:rect l="l" t="t" r="r" b="b"/>
            <a:pathLst>
              <a:path w="34925" h="38100">
                <a:moveTo>
                  <a:pt x="0" y="38100"/>
                </a:moveTo>
                <a:lnTo>
                  <a:pt x="34556" y="38100"/>
                </a:lnTo>
                <a:lnTo>
                  <a:pt x="34556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k object 27"/>
          <p:cNvSpPr/>
          <p:nvPr/>
        </p:nvSpPr>
        <p:spPr>
          <a:xfrm>
            <a:off x="8416290" y="5874258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806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k object 28"/>
          <p:cNvSpPr/>
          <p:nvPr/>
        </p:nvSpPr>
        <p:spPr>
          <a:xfrm>
            <a:off x="8415528" y="5821680"/>
            <a:ext cx="34925" cy="38100"/>
          </a:xfrm>
          <a:custGeom>
            <a:avLst/>
            <a:gdLst/>
            <a:ahLst/>
            <a:cxnLst/>
            <a:rect l="l" t="t" r="r" b="b"/>
            <a:pathLst>
              <a:path w="34925" h="38100">
                <a:moveTo>
                  <a:pt x="0" y="38099"/>
                </a:moveTo>
                <a:lnTo>
                  <a:pt x="34556" y="38099"/>
                </a:lnTo>
                <a:lnTo>
                  <a:pt x="34556" y="0"/>
                </a:lnTo>
                <a:lnTo>
                  <a:pt x="0" y="0"/>
                </a:lnTo>
                <a:lnTo>
                  <a:pt x="0" y="380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k object 29"/>
          <p:cNvSpPr/>
          <p:nvPr/>
        </p:nvSpPr>
        <p:spPr>
          <a:xfrm>
            <a:off x="8416290" y="5808726"/>
            <a:ext cx="105410" cy="0"/>
          </a:xfrm>
          <a:custGeom>
            <a:avLst/>
            <a:gdLst/>
            <a:ahLst/>
            <a:cxnLst/>
            <a:rect l="l" t="t" r="r" b="b"/>
            <a:pathLst>
              <a:path w="105409">
                <a:moveTo>
                  <a:pt x="0" y="0"/>
                </a:moveTo>
                <a:lnTo>
                  <a:pt x="104902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k object 30"/>
          <p:cNvSpPr/>
          <p:nvPr/>
        </p:nvSpPr>
        <p:spPr>
          <a:xfrm>
            <a:off x="8548116" y="5792724"/>
            <a:ext cx="123444" cy="16459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k object 31"/>
          <p:cNvSpPr/>
          <p:nvPr/>
        </p:nvSpPr>
        <p:spPr>
          <a:xfrm>
            <a:off x="8696706" y="5942838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9060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k object 32"/>
          <p:cNvSpPr/>
          <p:nvPr/>
        </p:nvSpPr>
        <p:spPr>
          <a:xfrm>
            <a:off x="8714993" y="5793486"/>
            <a:ext cx="0" cy="134620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112"/>
                </a:lnTo>
              </a:path>
            </a:pathLst>
          </a:custGeom>
          <a:ln w="3517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bk object 33"/>
          <p:cNvSpPr/>
          <p:nvPr/>
        </p:nvSpPr>
        <p:spPr>
          <a:xfrm>
            <a:off x="8817102" y="5942838"/>
            <a:ext cx="105410" cy="0"/>
          </a:xfrm>
          <a:custGeom>
            <a:avLst/>
            <a:gdLst/>
            <a:ahLst/>
            <a:cxnLst/>
            <a:rect l="l" t="t" r="r" b="b"/>
            <a:pathLst>
              <a:path w="105409">
                <a:moveTo>
                  <a:pt x="0" y="0"/>
                </a:moveTo>
                <a:lnTo>
                  <a:pt x="104902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bk object 34"/>
          <p:cNvSpPr/>
          <p:nvPr/>
        </p:nvSpPr>
        <p:spPr>
          <a:xfrm>
            <a:off x="8816340" y="5888736"/>
            <a:ext cx="34925" cy="38100"/>
          </a:xfrm>
          <a:custGeom>
            <a:avLst/>
            <a:gdLst/>
            <a:ahLst/>
            <a:cxnLst/>
            <a:rect l="l" t="t" r="r" b="b"/>
            <a:pathLst>
              <a:path w="34925" h="38100">
                <a:moveTo>
                  <a:pt x="0" y="38100"/>
                </a:moveTo>
                <a:lnTo>
                  <a:pt x="34556" y="38100"/>
                </a:lnTo>
                <a:lnTo>
                  <a:pt x="34556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bk object 35"/>
          <p:cNvSpPr/>
          <p:nvPr/>
        </p:nvSpPr>
        <p:spPr>
          <a:xfrm>
            <a:off x="8817102" y="5874258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806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bk object 36"/>
          <p:cNvSpPr/>
          <p:nvPr/>
        </p:nvSpPr>
        <p:spPr>
          <a:xfrm>
            <a:off x="8816340" y="5821680"/>
            <a:ext cx="34925" cy="38100"/>
          </a:xfrm>
          <a:custGeom>
            <a:avLst/>
            <a:gdLst/>
            <a:ahLst/>
            <a:cxnLst/>
            <a:rect l="l" t="t" r="r" b="b"/>
            <a:pathLst>
              <a:path w="34925" h="38100">
                <a:moveTo>
                  <a:pt x="0" y="38099"/>
                </a:moveTo>
                <a:lnTo>
                  <a:pt x="34556" y="38099"/>
                </a:lnTo>
                <a:lnTo>
                  <a:pt x="34556" y="0"/>
                </a:lnTo>
                <a:lnTo>
                  <a:pt x="0" y="0"/>
                </a:lnTo>
                <a:lnTo>
                  <a:pt x="0" y="380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bk object 37"/>
          <p:cNvSpPr/>
          <p:nvPr/>
        </p:nvSpPr>
        <p:spPr>
          <a:xfrm>
            <a:off x="8817102" y="5808726"/>
            <a:ext cx="105410" cy="0"/>
          </a:xfrm>
          <a:custGeom>
            <a:avLst/>
            <a:gdLst/>
            <a:ahLst/>
            <a:cxnLst/>
            <a:rect l="l" t="t" r="r" b="b"/>
            <a:pathLst>
              <a:path w="105409">
                <a:moveTo>
                  <a:pt x="0" y="0"/>
                </a:moveTo>
                <a:lnTo>
                  <a:pt x="104902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k object 38"/>
          <p:cNvSpPr/>
          <p:nvPr/>
        </p:nvSpPr>
        <p:spPr>
          <a:xfrm>
            <a:off x="8950452" y="5792724"/>
            <a:ext cx="118872" cy="1645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bk object 39"/>
          <p:cNvSpPr/>
          <p:nvPr/>
        </p:nvSpPr>
        <p:spPr>
          <a:xfrm>
            <a:off x="9095993" y="5942838"/>
            <a:ext cx="106680" cy="0"/>
          </a:xfrm>
          <a:custGeom>
            <a:avLst/>
            <a:gdLst/>
            <a:ahLst/>
            <a:cxnLst/>
            <a:rect l="l" t="t" r="r" b="b"/>
            <a:pathLst>
              <a:path w="106679">
                <a:moveTo>
                  <a:pt x="0" y="0"/>
                </a:moveTo>
                <a:lnTo>
                  <a:pt x="106680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bk object 40"/>
          <p:cNvSpPr/>
          <p:nvPr/>
        </p:nvSpPr>
        <p:spPr>
          <a:xfrm>
            <a:off x="9095231" y="5888736"/>
            <a:ext cx="33655" cy="38100"/>
          </a:xfrm>
          <a:custGeom>
            <a:avLst/>
            <a:gdLst/>
            <a:ahLst/>
            <a:cxnLst/>
            <a:rect l="l" t="t" r="r" b="b"/>
            <a:pathLst>
              <a:path w="33654" h="38100">
                <a:moveTo>
                  <a:pt x="0" y="38100"/>
                </a:moveTo>
                <a:lnTo>
                  <a:pt x="33274" y="38100"/>
                </a:lnTo>
                <a:lnTo>
                  <a:pt x="33274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bk object 41"/>
          <p:cNvSpPr/>
          <p:nvPr/>
        </p:nvSpPr>
        <p:spPr>
          <a:xfrm>
            <a:off x="9095993" y="5874258"/>
            <a:ext cx="97790" cy="0"/>
          </a:xfrm>
          <a:custGeom>
            <a:avLst/>
            <a:gdLst/>
            <a:ahLst/>
            <a:cxnLst/>
            <a:rect l="l" t="t" r="r" b="b"/>
            <a:pathLst>
              <a:path w="97790">
                <a:moveTo>
                  <a:pt x="0" y="0"/>
                </a:moveTo>
                <a:lnTo>
                  <a:pt x="97536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bk object 42"/>
          <p:cNvSpPr/>
          <p:nvPr/>
        </p:nvSpPr>
        <p:spPr>
          <a:xfrm>
            <a:off x="9095231" y="5821680"/>
            <a:ext cx="33655" cy="38100"/>
          </a:xfrm>
          <a:custGeom>
            <a:avLst/>
            <a:gdLst/>
            <a:ahLst/>
            <a:cxnLst/>
            <a:rect l="l" t="t" r="r" b="b"/>
            <a:pathLst>
              <a:path w="33654" h="38100">
                <a:moveTo>
                  <a:pt x="0" y="38099"/>
                </a:moveTo>
                <a:lnTo>
                  <a:pt x="33274" y="38099"/>
                </a:lnTo>
                <a:lnTo>
                  <a:pt x="33274" y="0"/>
                </a:lnTo>
                <a:lnTo>
                  <a:pt x="0" y="0"/>
                </a:lnTo>
                <a:lnTo>
                  <a:pt x="0" y="380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bk object 43"/>
          <p:cNvSpPr/>
          <p:nvPr/>
        </p:nvSpPr>
        <p:spPr>
          <a:xfrm>
            <a:off x="9095993" y="5808726"/>
            <a:ext cx="104775" cy="0"/>
          </a:xfrm>
          <a:custGeom>
            <a:avLst/>
            <a:gdLst/>
            <a:ahLst/>
            <a:cxnLst/>
            <a:rect l="l" t="t" r="r" b="b"/>
            <a:pathLst>
              <a:path w="104775">
                <a:moveTo>
                  <a:pt x="0" y="0"/>
                </a:moveTo>
                <a:lnTo>
                  <a:pt x="104775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bk object 44"/>
          <p:cNvSpPr/>
          <p:nvPr/>
        </p:nvSpPr>
        <p:spPr>
          <a:xfrm>
            <a:off x="9227819" y="5792724"/>
            <a:ext cx="118872" cy="16459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bk object 45"/>
          <p:cNvSpPr/>
          <p:nvPr/>
        </p:nvSpPr>
        <p:spPr>
          <a:xfrm>
            <a:off x="9381743" y="5922264"/>
            <a:ext cx="34925" cy="73025"/>
          </a:xfrm>
          <a:custGeom>
            <a:avLst/>
            <a:gdLst/>
            <a:ahLst/>
            <a:cxnLst/>
            <a:rect l="l" t="t" r="r" b="b"/>
            <a:pathLst>
              <a:path w="34925" h="73025">
                <a:moveTo>
                  <a:pt x="34544" y="0"/>
                </a:moveTo>
                <a:lnTo>
                  <a:pt x="0" y="0"/>
                </a:lnTo>
                <a:lnTo>
                  <a:pt x="0" y="35483"/>
                </a:lnTo>
                <a:lnTo>
                  <a:pt x="14732" y="35483"/>
                </a:lnTo>
                <a:lnTo>
                  <a:pt x="13081" y="38861"/>
                </a:lnTo>
                <a:lnTo>
                  <a:pt x="13081" y="43929"/>
                </a:lnTo>
                <a:lnTo>
                  <a:pt x="9906" y="47307"/>
                </a:lnTo>
                <a:lnTo>
                  <a:pt x="8255" y="52374"/>
                </a:lnTo>
                <a:lnTo>
                  <a:pt x="4826" y="54051"/>
                </a:lnTo>
                <a:lnTo>
                  <a:pt x="0" y="55740"/>
                </a:lnTo>
                <a:lnTo>
                  <a:pt x="0" y="72643"/>
                </a:lnTo>
                <a:lnTo>
                  <a:pt x="4826" y="70954"/>
                </a:lnTo>
                <a:lnTo>
                  <a:pt x="11557" y="69265"/>
                </a:lnTo>
                <a:lnTo>
                  <a:pt x="16383" y="67576"/>
                </a:lnTo>
                <a:lnTo>
                  <a:pt x="22987" y="62509"/>
                </a:lnTo>
                <a:lnTo>
                  <a:pt x="26289" y="57429"/>
                </a:lnTo>
                <a:lnTo>
                  <a:pt x="29718" y="52374"/>
                </a:lnTo>
                <a:lnTo>
                  <a:pt x="31750" y="46989"/>
                </a:lnTo>
                <a:lnTo>
                  <a:pt x="33274" y="40970"/>
                </a:lnTo>
                <a:lnTo>
                  <a:pt x="34290" y="34315"/>
                </a:lnTo>
                <a:lnTo>
                  <a:pt x="34544" y="27025"/>
                </a:lnTo>
                <a:lnTo>
                  <a:pt x="345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bk object 46"/>
          <p:cNvSpPr/>
          <p:nvPr/>
        </p:nvSpPr>
        <p:spPr>
          <a:xfrm>
            <a:off x="9468611" y="5789676"/>
            <a:ext cx="443483" cy="17068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bk object 47"/>
          <p:cNvSpPr/>
          <p:nvPr/>
        </p:nvSpPr>
        <p:spPr>
          <a:xfrm>
            <a:off x="9973056" y="5792724"/>
            <a:ext cx="251459" cy="1645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bk object 48"/>
          <p:cNvSpPr/>
          <p:nvPr/>
        </p:nvSpPr>
        <p:spPr>
          <a:xfrm>
            <a:off x="10251947" y="5792724"/>
            <a:ext cx="121920" cy="16459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bk object 49"/>
          <p:cNvSpPr/>
          <p:nvPr/>
        </p:nvSpPr>
        <p:spPr>
          <a:xfrm>
            <a:off x="10401300" y="5792724"/>
            <a:ext cx="117348" cy="16459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bk object 50"/>
          <p:cNvSpPr/>
          <p:nvPr/>
        </p:nvSpPr>
        <p:spPr>
          <a:xfrm>
            <a:off x="10561319" y="5792724"/>
            <a:ext cx="0" cy="164465"/>
          </a:xfrm>
          <a:custGeom>
            <a:avLst/>
            <a:gdLst/>
            <a:ahLst/>
            <a:cxnLst/>
            <a:rect l="l" t="t" r="r" b="b"/>
            <a:pathLst>
              <a:path h="164464">
                <a:moveTo>
                  <a:pt x="0" y="0"/>
                </a:moveTo>
                <a:lnTo>
                  <a:pt x="0" y="164084"/>
                </a:lnTo>
              </a:path>
            </a:pathLst>
          </a:custGeom>
          <a:ln w="3657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bk object 51"/>
          <p:cNvSpPr/>
          <p:nvPr/>
        </p:nvSpPr>
        <p:spPr>
          <a:xfrm>
            <a:off x="10611611" y="5792724"/>
            <a:ext cx="120396" cy="16459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bk object 52"/>
          <p:cNvSpPr/>
          <p:nvPr/>
        </p:nvSpPr>
        <p:spPr>
          <a:xfrm>
            <a:off x="10764011" y="5792724"/>
            <a:ext cx="126492" cy="16459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bk object 53"/>
          <p:cNvSpPr/>
          <p:nvPr/>
        </p:nvSpPr>
        <p:spPr>
          <a:xfrm>
            <a:off x="10914126" y="5942838"/>
            <a:ext cx="106680" cy="0"/>
          </a:xfrm>
          <a:custGeom>
            <a:avLst/>
            <a:gdLst/>
            <a:ahLst/>
            <a:cxnLst/>
            <a:rect l="l" t="t" r="r" b="b"/>
            <a:pathLst>
              <a:path w="106679">
                <a:moveTo>
                  <a:pt x="0" y="0"/>
                </a:moveTo>
                <a:lnTo>
                  <a:pt x="106680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bk object 54"/>
          <p:cNvSpPr/>
          <p:nvPr/>
        </p:nvSpPr>
        <p:spPr>
          <a:xfrm>
            <a:off x="10913364" y="5888736"/>
            <a:ext cx="36830" cy="38100"/>
          </a:xfrm>
          <a:custGeom>
            <a:avLst/>
            <a:gdLst/>
            <a:ahLst/>
            <a:cxnLst/>
            <a:rect l="l" t="t" r="r" b="b"/>
            <a:pathLst>
              <a:path w="36829" h="38100">
                <a:moveTo>
                  <a:pt x="0" y="38100"/>
                </a:moveTo>
                <a:lnTo>
                  <a:pt x="36322" y="38100"/>
                </a:lnTo>
                <a:lnTo>
                  <a:pt x="36322" y="0"/>
                </a:ln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bk object 55"/>
          <p:cNvSpPr/>
          <p:nvPr/>
        </p:nvSpPr>
        <p:spPr>
          <a:xfrm>
            <a:off x="10914126" y="5874258"/>
            <a:ext cx="100965" cy="0"/>
          </a:xfrm>
          <a:custGeom>
            <a:avLst/>
            <a:gdLst/>
            <a:ahLst/>
            <a:cxnLst/>
            <a:rect l="l" t="t" r="r" b="b"/>
            <a:pathLst>
              <a:path w="100965">
                <a:moveTo>
                  <a:pt x="0" y="0"/>
                </a:moveTo>
                <a:lnTo>
                  <a:pt x="100584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bk object 56"/>
          <p:cNvSpPr/>
          <p:nvPr/>
        </p:nvSpPr>
        <p:spPr>
          <a:xfrm>
            <a:off x="10913364" y="5821680"/>
            <a:ext cx="36830" cy="38100"/>
          </a:xfrm>
          <a:custGeom>
            <a:avLst/>
            <a:gdLst/>
            <a:ahLst/>
            <a:cxnLst/>
            <a:rect l="l" t="t" r="r" b="b"/>
            <a:pathLst>
              <a:path w="36829" h="38100">
                <a:moveTo>
                  <a:pt x="0" y="38099"/>
                </a:moveTo>
                <a:lnTo>
                  <a:pt x="36322" y="38099"/>
                </a:lnTo>
                <a:lnTo>
                  <a:pt x="36322" y="0"/>
                </a:lnTo>
                <a:lnTo>
                  <a:pt x="0" y="0"/>
                </a:lnTo>
                <a:lnTo>
                  <a:pt x="0" y="3809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bk object 57"/>
          <p:cNvSpPr/>
          <p:nvPr/>
        </p:nvSpPr>
        <p:spPr>
          <a:xfrm>
            <a:off x="10914126" y="5808726"/>
            <a:ext cx="104775" cy="0"/>
          </a:xfrm>
          <a:custGeom>
            <a:avLst/>
            <a:gdLst/>
            <a:ahLst/>
            <a:cxnLst/>
            <a:rect l="l" t="t" r="r" b="b"/>
            <a:pathLst>
              <a:path w="104775">
                <a:moveTo>
                  <a:pt x="0" y="0"/>
                </a:moveTo>
                <a:lnTo>
                  <a:pt x="104775" y="0"/>
                </a:lnTo>
              </a:path>
            </a:pathLst>
          </a:custGeom>
          <a:ln w="2920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bk object 58"/>
          <p:cNvSpPr/>
          <p:nvPr/>
        </p:nvSpPr>
        <p:spPr>
          <a:xfrm>
            <a:off x="11096243" y="5823204"/>
            <a:ext cx="0" cy="134620"/>
          </a:xfrm>
          <a:custGeom>
            <a:avLst/>
            <a:gdLst/>
            <a:ahLst/>
            <a:cxnLst/>
            <a:rect l="l" t="t" r="r" b="b"/>
            <a:pathLst>
              <a:path h="134620">
                <a:moveTo>
                  <a:pt x="0" y="0"/>
                </a:moveTo>
                <a:lnTo>
                  <a:pt x="0" y="134010"/>
                </a:lnTo>
              </a:path>
            </a:pathLst>
          </a:custGeom>
          <a:ln w="332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bk object 59"/>
          <p:cNvSpPr/>
          <p:nvPr/>
        </p:nvSpPr>
        <p:spPr>
          <a:xfrm>
            <a:off x="11038331" y="5807964"/>
            <a:ext cx="114300" cy="0"/>
          </a:xfrm>
          <a:custGeom>
            <a:avLst/>
            <a:gdLst/>
            <a:ahLst/>
            <a:cxnLst/>
            <a:rect l="l" t="t" r="r" b="b"/>
            <a:pathLst>
              <a:path w="114300">
                <a:moveTo>
                  <a:pt x="0" y="0"/>
                </a:moveTo>
                <a:lnTo>
                  <a:pt x="114300" y="0"/>
                </a:lnTo>
              </a:path>
            </a:pathLst>
          </a:custGeom>
          <a:ln w="3007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bk object 60"/>
          <p:cNvSpPr/>
          <p:nvPr/>
        </p:nvSpPr>
        <p:spPr>
          <a:xfrm>
            <a:off x="11161776" y="5922264"/>
            <a:ext cx="36830" cy="34925"/>
          </a:xfrm>
          <a:custGeom>
            <a:avLst/>
            <a:gdLst/>
            <a:ahLst/>
            <a:cxnLst/>
            <a:rect l="l" t="t" r="r" b="b"/>
            <a:pathLst>
              <a:path w="36829" h="34925">
                <a:moveTo>
                  <a:pt x="0" y="34556"/>
                </a:moveTo>
                <a:lnTo>
                  <a:pt x="36322" y="34556"/>
                </a:lnTo>
                <a:lnTo>
                  <a:pt x="36322" y="0"/>
                </a:lnTo>
                <a:lnTo>
                  <a:pt x="0" y="0"/>
                </a:lnTo>
                <a:lnTo>
                  <a:pt x="0" y="3455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E00074"/>
                </a:solidFill>
                <a:latin typeface="TeleGrotesk Headline Ultra"/>
                <a:cs typeface="TeleGrotesk Headline Ult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0FBC8F9-1379-7317-F5F4-83FC2D4E94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7821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7" imgH="348" progId="TCLayout.ActiveDocument.1">
                  <p:embed/>
                </p:oleObj>
              </mc:Choice>
              <mc:Fallback>
                <p:oleObj name="think-cell Folie" r:id="rId8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FBC8F9-1379-7317-F5F4-83FC2D4E9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323088" y="5981700"/>
            <a:ext cx="65405" cy="66040"/>
          </a:xfrm>
          <a:custGeom>
            <a:avLst/>
            <a:gdLst/>
            <a:ahLst/>
            <a:cxnLst/>
            <a:rect l="l" t="t" r="r" b="b"/>
            <a:pathLst>
              <a:path w="65404" h="66039">
                <a:moveTo>
                  <a:pt x="0" y="65443"/>
                </a:moveTo>
                <a:lnTo>
                  <a:pt x="65354" y="65443"/>
                </a:lnTo>
                <a:lnTo>
                  <a:pt x="65354" y="0"/>
                </a:lnTo>
                <a:lnTo>
                  <a:pt x="0" y="0"/>
                </a:lnTo>
                <a:lnTo>
                  <a:pt x="0" y="65443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522731" y="5981700"/>
            <a:ext cx="65405" cy="66040"/>
          </a:xfrm>
          <a:custGeom>
            <a:avLst/>
            <a:gdLst/>
            <a:ahLst/>
            <a:cxnLst/>
            <a:rect l="l" t="t" r="r" b="b"/>
            <a:pathLst>
              <a:path w="65404" h="66039">
                <a:moveTo>
                  <a:pt x="0" y="65443"/>
                </a:moveTo>
                <a:lnTo>
                  <a:pt x="65328" y="65443"/>
                </a:lnTo>
                <a:lnTo>
                  <a:pt x="65328" y="0"/>
                </a:lnTo>
                <a:lnTo>
                  <a:pt x="0" y="0"/>
                </a:lnTo>
                <a:lnTo>
                  <a:pt x="0" y="65443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719327" y="5981700"/>
            <a:ext cx="65405" cy="66040"/>
          </a:xfrm>
          <a:custGeom>
            <a:avLst/>
            <a:gdLst/>
            <a:ahLst/>
            <a:cxnLst/>
            <a:rect l="l" t="t" r="r" b="b"/>
            <a:pathLst>
              <a:path w="65404" h="66039">
                <a:moveTo>
                  <a:pt x="0" y="65443"/>
                </a:moveTo>
                <a:lnTo>
                  <a:pt x="65328" y="65443"/>
                </a:lnTo>
                <a:lnTo>
                  <a:pt x="65328" y="0"/>
                </a:lnTo>
                <a:lnTo>
                  <a:pt x="0" y="0"/>
                </a:lnTo>
                <a:lnTo>
                  <a:pt x="0" y="65443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915924" y="5981700"/>
            <a:ext cx="65405" cy="66040"/>
          </a:xfrm>
          <a:custGeom>
            <a:avLst/>
            <a:gdLst/>
            <a:ahLst/>
            <a:cxnLst/>
            <a:rect l="l" t="t" r="r" b="b"/>
            <a:pathLst>
              <a:path w="65405" h="66039">
                <a:moveTo>
                  <a:pt x="0" y="65443"/>
                </a:moveTo>
                <a:lnTo>
                  <a:pt x="65354" y="65443"/>
                </a:lnTo>
                <a:lnTo>
                  <a:pt x="65354" y="0"/>
                </a:lnTo>
                <a:lnTo>
                  <a:pt x="0" y="0"/>
                </a:lnTo>
                <a:lnTo>
                  <a:pt x="0" y="65443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375856" y="6147263"/>
            <a:ext cx="160020" cy="0"/>
          </a:xfrm>
          <a:custGeom>
            <a:avLst/>
            <a:gdLst/>
            <a:ahLst/>
            <a:cxnLst/>
            <a:rect l="l" t="t" r="r" b="b"/>
            <a:pathLst>
              <a:path w="160020">
                <a:moveTo>
                  <a:pt x="0" y="0"/>
                </a:moveTo>
                <a:lnTo>
                  <a:pt x="159600" y="0"/>
                </a:lnTo>
              </a:path>
            </a:pathLst>
          </a:custGeom>
          <a:ln w="18300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384975" y="6137795"/>
            <a:ext cx="142240" cy="0"/>
          </a:xfrm>
          <a:custGeom>
            <a:avLst/>
            <a:gdLst/>
            <a:ahLst/>
            <a:cxnLst/>
            <a:rect l="l" t="t" r="r" b="b"/>
            <a:pathLst>
              <a:path w="142240">
                <a:moveTo>
                  <a:pt x="0" y="0"/>
                </a:moveTo>
                <a:lnTo>
                  <a:pt x="142011" y="0"/>
                </a:lnTo>
              </a:path>
            </a:pathLst>
          </a:custGeom>
          <a:ln w="3175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394741" y="5847372"/>
            <a:ext cx="121920" cy="290195"/>
          </a:xfrm>
          <a:custGeom>
            <a:avLst/>
            <a:gdLst/>
            <a:ahLst/>
            <a:cxnLst/>
            <a:rect l="l" t="t" r="r" b="b"/>
            <a:pathLst>
              <a:path w="121920" h="290195">
                <a:moveTo>
                  <a:pt x="86639" y="0"/>
                </a:moveTo>
                <a:lnTo>
                  <a:pt x="35178" y="0"/>
                </a:lnTo>
                <a:lnTo>
                  <a:pt x="35178" y="239788"/>
                </a:lnTo>
                <a:lnTo>
                  <a:pt x="34582" y="254012"/>
                </a:lnTo>
                <a:lnTo>
                  <a:pt x="8559" y="288747"/>
                </a:lnTo>
                <a:lnTo>
                  <a:pt x="0" y="290093"/>
                </a:lnTo>
                <a:lnTo>
                  <a:pt x="121818" y="290093"/>
                </a:lnTo>
                <a:lnTo>
                  <a:pt x="89001" y="265430"/>
                </a:lnTo>
                <a:lnTo>
                  <a:pt x="86639" y="239788"/>
                </a:lnTo>
                <a:lnTo>
                  <a:pt x="86639" y="0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323088" y="5832348"/>
            <a:ext cx="262890" cy="117475"/>
          </a:xfrm>
          <a:custGeom>
            <a:avLst/>
            <a:gdLst/>
            <a:ahLst/>
            <a:cxnLst/>
            <a:rect l="l" t="t" r="r" b="b"/>
            <a:pathLst>
              <a:path w="262890" h="117475">
                <a:moveTo>
                  <a:pt x="261874" y="0"/>
                </a:moveTo>
                <a:lnTo>
                  <a:pt x="3251" y="0"/>
                </a:lnTo>
                <a:lnTo>
                  <a:pt x="0" y="114338"/>
                </a:lnTo>
                <a:lnTo>
                  <a:pt x="17589" y="116954"/>
                </a:lnTo>
                <a:lnTo>
                  <a:pt x="20739" y="93446"/>
                </a:lnTo>
                <a:lnTo>
                  <a:pt x="26212" y="73012"/>
                </a:lnTo>
                <a:lnTo>
                  <a:pt x="56083" y="30645"/>
                </a:lnTo>
                <a:lnTo>
                  <a:pt x="106832" y="15024"/>
                </a:lnTo>
                <a:lnTo>
                  <a:pt x="262293" y="15024"/>
                </a:lnTo>
                <a:lnTo>
                  <a:pt x="261874" y="0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481380" y="5847372"/>
            <a:ext cx="106832" cy="10193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1374647" y="5971032"/>
            <a:ext cx="1370076" cy="10363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0692" y="172974"/>
            <a:ext cx="10897514" cy="513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E00074"/>
                </a:solidFill>
                <a:latin typeface="TeleGrotesk Headline Ultra"/>
                <a:cs typeface="TeleGrotesk Headline Ult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92074" y="1923313"/>
            <a:ext cx="10734751" cy="38144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916426" y="6029515"/>
            <a:ext cx="3686048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75945" y="6029515"/>
            <a:ext cx="2649347" cy="3241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99292" y="5913127"/>
            <a:ext cx="13652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rgbClr val="494949"/>
                </a:solidFill>
                <a:latin typeface="Tele-GroteskNor"/>
                <a:cs typeface="Tele-GroteskNor"/>
              </a:defRPr>
            </a:lvl1pPr>
          </a:lstStyle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‹Nr.›</a:t>
            </a:fld>
            <a:endParaRPr spc="-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0692" y="201244"/>
            <a:ext cx="9738360" cy="2330450"/>
          </a:xfrm>
          <a:prstGeom prst="rect">
            <a:avLst/>
          </a:prstGeom>
        </p:spPr>
        <p:txBody>
          <a:bodyPr vert="horz" wrap="square" lIns="0" tIns="106045" rIns="0" bIns="0" rtlCol="0">
            <a:spAutoFit/>
          </a:bodyPr>
          <a:lstStyle/>
          <a:p>
            <a:pPr marL="12700" marR="5080">
              <a:lnSpc>
                <a:spcPts val="5830"/>
              </a:lnSpc>
              <a:spcBef>
                <a:spcPts val="835"/>
              </a:spcBef>
            </a:pPr>
            <a:r>
              <a:rPr sz="5400" spc="-15" dirty="0">
                <a:solidFill>
                  <a:srgbClr val="FFFFFF"/>
                </a:solidFill>
              </a:rPr>
              <a:t>Reisekostenabrechnung</a:t>
            </a:r>
            <a:r>
              <a:rPr sz="5400" spc="-445" dirty="0">
                <a:solidFill>
                  <a:srgbClr val="FFFFFF"/>
                </a:solidFill>
              </a:rPr>
              <a:t> </a:t>
            </a:r>
            <a:r>
              <a:rPr sz="5400" spc="-10" dirty="0">
                <a:solidFill>
                  <a:srgbClr val="FFFFFF"/>
                </a:solidFill>
              </a:rPr>
              <a:t>nach  der </a:t>
            </a:r>
            <a:r>
              <a:rPr sz="5400" spc="-5" dirty="0">
                <a:solidFill>
                  <a:srgbClr val="FFFFFF"/>
                </a:solidFill>
              </a:rPr>
              <a:t>Betriebsversammung </a:t>
            </a:r>
            <a:r>
              <a:rPr sz="5400" dirty="0">
                <a:solidFill>
                  <a:srgbClr val="FFFFFF"/>
                </a:solidFill>
              </a:rPr>
              <a:t>am  </a:t>
            </a:r>
            <a:r>
              <a:rPr lang="de-DE" sz="5400" spc="-5" dirty="0">
                <a:solidFill>
                  <a:srgbClr val="FFFFFF"/>
                </a:solidFill>
              </a:rPr>
              <a:t>16</a:t>
            </a:r>
            <a:r>
              <a:rPr sz="5400" spc="-5" dirty="0">
                <a:solidFill>
                  <a:srgbClr val="FFFFFF"/>
                </a:solidFill>
              </a:rPr>
              <a:t>.</a:t>
            </a:r>
            <a:r>
              <a:rPr lang="de-DE" sz="5400" spc="-5" dirty="0">
                <a:solidFill>
                  <a:srgbClr val="FFFFFF"/>
                </a:solidFill>
              </a:rPr>
              <a:t>05</a:t>
            </a:r>
            <a:r>
              <a:rPr sz="5400" spc="-5" dirty="0">
                <a:solidFill>
                  <a:srgbClr val="FFFFFF"/>
                </a:solidFill>
              </a:rPr>
              <a:t>.202</a:t>
            </a:r>
            <a:r>
              <a:rPr lang="de-DE" sz="5400" spc="-5" dirty="0">
                <a:solidFill>
                  <a:srgbClr val="FFFFFF"/>
                </a:solidFill>
              </a:rPr>
              <a:t>3</a:t>
            </a:r>
            <a:endParaRPr sz="54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23494" y="622808"/>
            <a:ext cx="10205085" cy="0"/>
          </a:xfrm>
          <a:custGeom>
            <a:avLst/>
            <a:gdLst/>
            <a:ahLst/>
            <a:cxnLst/>
            <a:rect l="l" t="t" r="r" b="b"/>
            <a:pathLst>
              <a:path w="10205085">
                <a:moveTo>
                  <a:pt x="0" y="0"/>
                </a:moveTo>
                <a:lnTo>
                  <a:pt x="10204678" y="0"/>
                </a:lnTo>
              </a:path>
            </a:pathLst>
          </a:custGeom>
          <a:ln w="54863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10692" y="172974"/>
            <a:ext cx="1023239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Aktueller </a:t>
            </a:r>
            <a:r>
              <a:rPr spc="-5" dirty="0"/>
              <a:t>Stand Reisekosten </a:t>
            </a:r>
            <a:r>
              <a:rPr dirty="0"/>
              <a:t>- </a:t>
            </a:r>
            <a:r>
              <a:rPr spc="-5" dirty="0"/>
              <a:t>Betriebsversammlung</a:t>
            </a:r>
          </a:p>
        </p:txBody>
      </p:sp>
      <p:sp>
        <p:nvSpPr>
          <p:cNvPr id="4" name="object 4"/>
          <p:cNvSpPr/>
          <p:nvPr/>
        </p:nvSpPr>
        <p:spPr>
          <a:xfrm>
            <a:off x="326897" y="756666"/>
            <a:ext cx="10594975" cy="5052060"/>
          </a:xfrm>
          <a:custGeom>
            <a:avLst/>
            <a:gdLst/>
            <a:ahLst/>
            <a:cxnLst/>
            <a:rect l="l" t="t" r="r" b="b"/>
            <a:pathLst>
              <a:path w="10594975" h="5052060">
                <a:moveTo>
                  <a:pt x="0" y="5051806"/>
                </a:moveTo>
                <a:lnTo>
                  <a:pt x="10594721" y="5051806"/>
                </a:lnTo>
                <a:lnTo>
                  <a:pt x="10594721" y="0"/>
                </a:lnTo>
                <a:lnTo>
                  <a:pt x="0" y="0"/>
                </a:lnTo>
                <a:lnTo>
                  <a:pt x="0" y="5051806"/>
                </a:lnTo>
                <a:close/>
              </a:path>
            </a:pathLst>
          </a:custGeom>
          <a:ln w="19812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255264" y="2232660"/>
            <a:ext cx="518159" cy="187325"/>
          </a:xfrm>
          <a:custGeom>
            <a:avLst/>
            <a:gdLst/>
            <a:ahLst/>
            <a:cxnLst/>
            <a:rect l="l" t="t" r="r" b="b"/>
            <a:pathLst>
              <a:path w="518160" h="187325">
                <a:moveTo>
                  <a:pt x="0" y="187325"/>
                </a:moveTo>
                <a:lnTo>
                  <a:pt x="518160" y="187325"/>
                </a:lnTo>
                <a:lnTo>
                  <a:pt x="518160" y="0"/>
                </a:lnTo>
                <a:lnTo>
                  <a:pt x="0" y="0"/>
                </a:lnTo>
                <a:lnTo>
                  <a:pt x="0" y="18732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773423" y="2232660"/>
            <a:ext cx="33655" cy="187325"/>
          </a:xfrm>
          <a:custGeom>
            <a:avLst/>
            <a:gdLst/>
            <a:ahLst/>
            <a:cxnLst/>
            <a:rect l="l" t="t" r="r" b="b"/>
            <a:pathLst>
              <a:path w="33654" h="187325">
                <a:moveTo>
                  <a:pt x="0" y="187325"/>
                </a:moveTo>
                <a:lnTo>
                  <a:pt x="33400" y="187325"/>
                </a:lnTo>
                <a:lnTo>
                  <a:pt x="33400" y="0"/>
                </a:lnTo>
                <a:lnTo>
                  <a:pt x="0" y="0"/>
                </a:lnTo>
                <a:lnTo>
                  <a:pt x="0" y="18732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806952" y="2232660"/>
            <a:ext cx="31750" cy="187325"/>
          </a:xfrm>
          <a:custGeom>
            <a:avLst/>
            <a:gdLst/>
            <a:ahLst/>
            <a:cxnLst/>
            <a:rect l="l" t="t" r="r" b="b"/>
            <a:pathLst>
              <a:path w="31750" h="187325">
                <a:moveTo>
                  <a:pt x="0" y="187325"/>
                </a:moveTo>
                <a:lnTo>
                  <a:pt x="31623" y="187325"/>
                </a:lnTo>
                <a:lnTo>
                  <a:pt x="31623" y="0"/>
                </a:lnTo>
                <a:lnTo>
                  <a:pt x="0" y="0"/>
                </a:lnTo>
                <a:lnTo>
                  <a:pt x="0" y="18732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838955" y="2232660"/>
            <a:ext cx="374650" cy="187325"/>
          </a:xfrm>
          <a:custGeom>
            <a:avLst/>
            <a:gdLst/>
            <a:ahLst/>
            <a:cxnLst/>
            <a:rect l="l" t="t" r="r" b="b"/>
            <a:pathLst>
              <a:path w="374650" h="187325">
                <a:moveTo>
                  <a:pt x="0" y="187325"/>
                </a:moveTo>
                <a:lnTo>
                  <a:pt x="374523" y="187325"/>
                </a:lnTo>
                <a:lnTo>
                  <a:pt x="374523" y="0"/>
                </a:lnTo>
                <a:lnTo>
                  <a:pt x="0" y="0"/>
                </a:lnTo>
                <a:lnTo>
                  <a:pt x="0" y="187325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703576" y="5029200"/>
            <a:ext cx="3256915" cy="187325"/>
          </a:xfrm>
          <a:custGeom>
            <a:avLst/>
            <a:gdLst/>
            <a:ahLst/>
            <a:cxnLst/>
            <a:rect l="l" t="t" r="r" b="b"/>
            <a:pathLst>
              <a:path w="3256915" h="187325">
                <a:moveTo>
                  <a:pt x="0" y="187325"/>
                </a:moveTo>
                <a:lnTo>
                  <a:pt x="3256661" y="187325"/>
                </a:lnTo>
                <a:lnTo>
                  <a:pt x="3256661" y="0"/>
                </a:lnTo>
                <a:lnTo>
                  <a:pt x="0" y="0"/>
                </a:lnTo>
                <a:lnTo>
                  <a:pt x="0" y="187325"/>
                </a:lnTo>
                <a:close/>
              </a:path>
            </a:pathLst>
          </a:custGeom>
          <a:solidFill>
            <a:srgbClr val="800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92074" y="745642"/>
            <a:ext cx="9943465" cy="975360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350" b="1" dirty="0">
                <a:solidFill>
                  <a:srgbClr val="494949"/>
                </a:solidFill>
                <a:latin typeface="Tele-GroteskNor"/>
                <a:cs typeface="Tele-GroteskNor"/>
              </a:rPr>
              <a:t>Bitte</a:t>
            </a:r>
            <a:r>
              <a:rPr sz="1350" b="1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-10" dirty="0">
                <a:solidFill>
                  <a:srgbClr val="494949"/>
                </a:solidFill>
                <a:latin typeface="Tele-GroteskNor"/>
                <a:cs typeface="Tele-GroteskNor"/>
              </a:rPr>
              <a:t>beachten:</a:t>
            </a:r>
            <a:endParaRPr sz="1350" dirty="0">
              <a:latin typeface="Tele-GroteskNor"/>
              <a:cs typeface="Tele-GroteskNor"/>
            </a:endParaRPr>
          </a:p>
          <a:p>
            <a:pPr marL="299085" marR="5080" indent="-287020">
              <a:lnSpc>
                <a:spcPct val="105900"/>
              </a:lnSpc>
              <a:spcBef>
                <a:spcPts val="204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nstehende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Betriebsversammlung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m </a:t>
            </a:r>
            <a:r>
              <a:rPr lang="de-DE" sz="1350" dirty="0">
                <a:solidFill>
                  <a:srgbClr val="494949"/>
                </a:solidFill>
                <a:latin typeface="Tele-GroteskNor"/>
                <a:cs typeface="Tele-GroteskNor"/>
              </a:rPr>
              <a:t>16.05.2023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verursacht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höhere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weil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stellung Ihrer Reisemittel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über 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MyTO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(My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Portal) </a:t>
            </a:r>
            <a:r>
              <a:rPr sz="1350" spc="-5" dirty="0" err="1">
                <a:solidFill>
                  <a:srgbClr val="494949"/>
                </a:solidFill>
                <a:latin typeface="Tele-GroteskNor"/>
                <a:cs typeface="Tele-GroteskNor"/>
              </a:rPr>
              <a:t>nur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0" dirty="0" err="1">
                <a:solidFill>
                  <a:srgbClr val="494949"/>
                </a:solidFill>
                <a:latin typeface="Tele-GroteskNor"/>
                <a:cs typeface="Tele-GroteskNor"/>
              </a:rPr>
              <a:t>über</a:t>
            </a:r>
            <a:r>
              <a:rPr lang="de-DE" sz="1350" spc="1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0" dirty="0">
                <a:solidFill>
                  <a:srgbClr val="494949"/>
                </a:solidFill>
                <a:latin typeface="Tele-GroteskNor"/>
                <a:cs typeface="Tele-GroteskNor"/>
              </a:rPr>
              <a:t>die  </a:t>
            </a:r>
            <a:r>
              <a:rPr sz="1350" spc="-10" dirty="0" err="1">
                <a:solidFill>
                  <a:srgbClr val="494949"/>
                </a:solidFill>
                <a:latin typeface="Tele-GroteskNor"/>
                <a:cs typeface="Tele-GroteskNor"/>
              </a:rPr>
              <a:t>Stammkostenstelle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0" dirty="0" err="1">
                <a:solidFill>
                  <a:srgbClr val="494949"/>
                </a:solidFill>
                <a:latin typeface="Tele-GroteskNor"/>
                <a:cs typeface="Tele-GroteskNor"/>
              </a:rPr>
              <a:t>möglich</a:t>
            </a:r>
            <a:r>
              <a:rPr lang="de-DE" sz="1350" spc="1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0" dirty="0" err="1">
                <a:solidFill>
                  <a:srgbClr val="494949"/>
                </a:solidFill>
                <a:latin typeface="Tele-GroteskNor"/>
                <a:cs typeface="Tele-GroteskNor"/>
              </a:rPr>
              <a:t>ist</a:t>
            </a:r>
            <a:r>
              <a:rPr sz="1350" spc="10" dirty="0">
                <a:solidFill>
                  <a:srgbClr val="494949"/>
                </a:solidFill>
                <a:latin typeface="Tele-GroteskNor"/>
                <a:cs typeface="Tele-GroteskNor"/>
              </a:rPr>
              <a:t>.</a:t>
            </a:r>
            <a:endParaRPr sz="1350" dirty="0">
              <a:latin typeface="Tele-GroteskNor"/>
              <a:cs typeface="Tele-GroteskNor"/>
            </a:endParaRPr>
          </a:p>
          <a:p>
            <a:pPr marL="299085" indent="-287020">
              <a:lnSpc>
                <a:spcPct val="100000"/>
              </a:lnSpc>
              <a:spcBef>
                <a:spcPts val="30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Betriebsrat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hat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in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seiner</a:t>
            </a:r>
            <a:r>
              <a:rPr sz="1350" u="sng" spc="-8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2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FAQ-Liste</a:t>
            </a:r>
            <a:r>
              <a:rPr sz="1350" u="sng" spc="-8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arauf</a:t>
            </a:r>
            <a:r>
              <a:rPr sz="1350" u="sng" spc="-7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hingewiesen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d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bittet</a:t>
            </a:r>
            <a:r>
              <a:rPr sz="1350" u="sng" spc="-7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um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eine</a:t>
            </a:r>
            <a:r>
              <a:rPr sz="1350" u="sng" spc="-2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zeitnahe</a:t>
            </a:r>
            <a:r>
              <a:rPr sz="1350" u="sng" spc="-5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Abrechnung</a:t>
            </a:r>
            <a:r>
              <a:rPr sz="1350" u="sng" spc="-7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er</a:t>
            </a:r>
            <a:r>
              <a:rPr sz="1350" u="sng" spc="-4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Reisekosten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:</a:t>
            </a:r>
            <a:endParaRPr sz="1350" dirty="0">
              <a:latin typeface="Tele-GroteskNor"/>
              <a:cs typeface="Tele-GroteskNor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563617" y="1992249"/>
            <a:ext cx="841375" cy="186055"/>
          </a:xfrm>
          <a:custGeom>
            <a:avLst/>
            <a:gdLst/>
            <a:ahLst/>
            <a:cxnLst/>
            <a:rect l="l" t="t" r="r" b="b"/>
            <a:pathLst>
              <a:path w="841375" h="186055">
                <a:moveTo>
                  <a:pt x="0" y="185927"/>
                </a:moveTo>
                <a:lnTo>
                  <a:pt x="841248" y="185927"/>
                </a:lnTo>
                <a:lnTo>
                  <a:pt x="841248" y="0"/>
                </a:lnTo>
                <a:lnTo>
                  <a:pt x="0" y="0"/>
                </a:lnTo>
                <a:lnTo>
                  <a:pt x="0" y="185927"/>
                </a:lnTo>
                <a:close/>
              </a:path>
            </a:pathLst>
          </a:custGeom>
          <a:solidFill>
            <a:srgbClr val="008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415534" y="1992249"/>
            <a:ext cx="0" cy="186055"/>
          </a:xfrm>
          <a:custGeom>
            <a:avLst/>
            <a:gdLst/>
            <a:ahLst/>
            <a:cxnLst/>
            <a:rect l="l" t="t" r="r" b="b"/>
            <a:pathLst>
              <a:path h="186055">
                <a:moveTo>
                  <a:pt x="0" y="0"/>
                </a:moveTo>
                <a:lnTo>
                  <a:pt x="0" y="185927"/>
                </a:lnTo>
              </a:path>
            </a:pathLst>
          </a:custGeom>
          <a:ln w="21336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426202" y="1992249"/>
            <a:ext cx="195580" cy="186055"/>
          </a:xfrm>
          <a:custGeom>
            <a:avLst/>
            <a:gdLst/>
            <a:ahLst/>
            <a:cxnLst/>
            <a:rect l="l" t="t" r="r" b="b"/>
            <a:pathLst>
              <a:path w="195579" h="186055">
                <a:moveTo>
                  <a:pt x="0" y="185927"/>
                </a:moveTo>
                <a:lnTo>
                  <a:pt x="195072" y="185927"/>
                </a:lnTo>
                <a:lnTo>
                  <a:pt x="195072" y="0"/>
                </a:lnTo>
                <a:lnTo>
                  <a:pt x="0" y="0"/>
                </a:lnTo>
                <a:lnTo>
                  <a:pt x="0" y="185927"/>
                </a:lnTo>
                <a:close/>
              </a:path>
            </a:pathLst>
          </a:custGeom>
          <a:solidFill>
            <a:srgbClr val="008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636514" y="1992249"/>
            <a:ext cx="0" cy="186055"/>
          </a:xfrm>
          <a:custGeom>
            <a:avLst/>
            <a:gdLst/>
            <a:ahLst/>
            <a:cxnLst/>
            <a:rect l="l" t="t" r="r" b="b"/>
            <a:pathLst>
              <a:path h="186055">
                <a:moveTo>
                  <a:pt x="0" y="0"/>
                </a:moveTo>
                <a:lnTo>
                  <a:pt x="0" y="185927"/>
                </a:lnTo>
              </a:path>
            </a:pathLst>
          </a:custGeom>
          <a:ln w="30479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651753" y="1992249"/>
            <a:ext cx="195580" cy="186055"/>
          </a:xfrm>
          <a:custGeom>
            <a:avLst/>
            <a:gdLst/>
            <a:ahLst/>
            <a:cxnLst/>
            <a:rect l="l" t="t" r="r" b="b"/>
            <a:pathLst>
              <a:path w="195579" h="186055">
                <a:moveTo>
                  <a:pt x="0" y="185927"/>
                </a:moveTo>
                <a:lnTo>
                  <a:pt x="195072" y="185927"/>
                </a:lnTo>
                <a:lnTo>
                  <a:pt x="195072" y="0"/>
                </a:lnTo>
                <a:lnTo>
                  <a:pt x="0" y="0"/>
                </a:lnTo>
                <a:lnTo>
                  <a:pt x="0" y="185927"/>
                </a:lnTo>
                <a:close/>
              </a:path>
            </a:pathLst>
          </a:custGeom>
          <a:solidFill>
            <a:srgbClr val="008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860541" y="1992249"/>
            <a:ext cx="0" cy="186055"/>
          </a:xfrm>
          <a:custGeom>
            <a:avLst/>
            <a:gdLst/>
            <a:ahLst/>
            <a:cxnLst/>
            <a:rect l="l" t="t" r="r" b="b"/>
            <a:pathLst>
              <a:path h="186055">
                <a:moveTo>
                  <a:pt x="0" y="0"/>
                </a:moveTo>
                <a:lnTo>
                  <a:pt x="0" y="185927"/>
                </a:lnTo>
              </a:path>
            </a:pathLst>
          </a:custGeom>
          <a:ln w="27432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874258" y="1992249"/>
            <a:ext cx="748665" cy="186055"/>
          </a:xfrm>
          <a:custGeom>
            <a:avLst/>
            <a:gdLst/>
            <a:ahLst/>
            <a:cxnLst/>
            <a:rect l="l" t="t" r="r" b="b"/>
            <a:pathLst>
              <a:path w="748665" h="186055">
                <a:moveTo>
                  <a:pt x="0" y="185927"/>
                </a:moveTo>
                <a:lnTo>
                  <a:pt x="748284" y="185927"/>
                </a:lnTo>
                <a:lnTo>
                  <a:pt x="748284" y="0"/>
                </a:lnTo>
                <a:lnTo>
                  <a:pt x="0" y="0"/>
                </a:lnTo>
                <a:lnTo>
                  <a:pt x="0" y="185927"/>
                </a:lnTo>
                <a:close/>
              </a:path>
            </a:pathLst>
          </a:custGeom>
          <a:solidFill>
            <a:srgbClr val="008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634733" y="1992249"/>
            <a:ext cx="0" cy="186055"/>
          </a:xfrm>
          <a:custGeom>
            <a:avLst/>
            <a:gdLst/>
            <a:ahLst/>
            <a:cxnLst/>
            <a:rect l="l" t="t" r="r" b="b"/>
            <a:pathLst>
              <a:path h="186055">
                <a:moveTo>
                  <a:pt x="0" y="0"/>
                </a:moveTo>
                <a:lnTo>
                  <a:pt x="0" y="185927"/>
                </a:lnTo>
              </a:path>
            </a:pathLst>
          </a:custGeom>
          <a:ln w="24383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646926" y="1992249"/>
            <a:ext cx="891540" cy="186055"/>
          </a:xfrm>
          <a:custGeom>
            <a:avLst/>
            <a:gdLst/>
            <a:ahLst/>
            <a:cxnLst/>
            <a:rect l="l" t="t" r="r" b="b"/>
            <a:pathLst>
              <a:path w="891540" h="186055">
                <a:moveTo>
                  <a:pt x="0" y="185927"/>
                </a:moveTo>
                <a:lnTo>
                  <a:pt x="891540" y="185927"/>
                </a:lnTo>
                <a:lnTo>
                  <a:pt x="891540" y="0"/>
                </a:lnTo>
                <a:lnTo>
                  <a:pt x="0" y="0"/>
                </a:lnTo>
                <a:lnTo>
                  <a:pt x="0" y="185927"/>
                </a:lnTo>
                <a:close/>
              </a:path>
            </a:pathLst>
          </a:custGeom>
          <a:solidFill>
            <a:srgbClr val="008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7552181" y="1992249"/>
            <a:ext cx="0" cy="186055"/>
          </a:xfrm>
          <a:custGeom>
            <a:avLst/>
            <a:gdLst/>
            <a:ahLst/>
            <a:cxnLst/>
            <a:rect l="l" t="t" r="r" b="b"/>
            <a:pathLst>
              <a:path h="186055">
                <a:moveTo>
                  <a:pt x="0" y="0"/>
                </a:moveTo>
                <a:lnTo>
                  <a:pt x="0" y="185927"/>
                </a:lnTo>
              </a:path>
            </a:pathLst>
          </a:custGeom>
          <a:ln w="27431">
            <a:solidFill>
              <a:srgbClr val="008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130540" y="1993392"/>
            <a:ext cx="1926589" cy="187960"/>
          </a:xfrm>
          <a:custGeom>
            <a:avLst/>
            <a:gdLst/>
            <a:ahLst/>
            <a:cxnLst/>
            <a:rect l="l" t="t" r="r" b="b"/>
            <a:pathLst>
              <a:path w="1926590" h="187960">
                <a:moveTo>
                  <a:pt x="0" y="187451"/>
                </a:moveTo>
                <a:lnTo>
                  <a:pt x="1926336" y="187451"/>
                </a:lnTo>
                <a:lnTo>
                  <a:pt x="1926336" y="0"/>
                </a:lnTo>
                <a:lnTo>
                  <a:pt x="0" y="0"/>
                </a:lnTo>
                <a:lnTo>
                  <a:pt x="0" y="187451"/>
                </a:lnTo>
                <a:close/>
              </a:path>
            </a:pathLst>
          </a:custGeom>
          <a:solidFill>
            <a:srgbClr val="800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392074" y="1923313"/>
            <a:ext cx="10401300" cy="3814445"/>
          </a:xfrm>
          <a:prstGeom prst="rect">
            <a:avLst/>
          </a:prstGeom>
        </p:spPr>
        <p:txBody>
          <a:bodyPr vert="horz" wrap="square" lIns="0" tIns="45720" rIns="0" bIns="0" rtlCol="0">
            <a:spAutoFit/>
          </a:bodyPr>
          <a:lstStyle/>
          <a:p>
            <a:pPr marL="873760" indent="-285115">
              <a:lnSpc>
                <a:spcPct val="100000"/>
              </a:lnSpc>
              <a:spcBef>
                <a:spcPts val="36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873125" algn="l"/>
                <a:tab pos="87376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Alle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anfallenden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zur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trVers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buchen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FFFFFF"/>
                </a:solidFill>
                <a:latin typeface="Tele-GroteskNor"/>
                <a:cs typeface="Tele-GroteskNor"/>
              </a:rPr>
              <a:t>Arbeitnehmer</a:t>
            </a:r>
            <a:r>
              <a:rPr sz="1350" spc="-9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FFFFFF"/>
                </a:solidFill>
                <a:latin typeface="Tele-GroteskNor"/>
                <a:cs typeface="Tele-GroteskNor"/>
              </a:rPr>
              <a:t>auf</a:t>
            </a:r>
            <a:r>
              <a:rPr sz="1350" spc="-1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FFFFFF"/>
                </a:solidFill>
                <a:latin typeface="Tele-GroteskNor"/>
                <a:cs typeface="Tele-GroteskNor"/>
              </a:rPr>
              <a:t>die</a:t>
            </a:r>
            <a:r>
              <a:rPr sz="1350" spc="-4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FFFFFF"/>
                </a:solidFill>
                <a:latin typeface="Tele-GroteskNor"/>
                <a:cs typeface="Tele-GroteskNor"/>
              </a:rPr>
              <a:t>Kostenstelle</a:t>
            </a:r>
            <a:r>
              <a:rPr sz="1350" spc="-7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FFFFFF"/>
                </a:solidFill>
                <a:latin typeface="Tele-GroteskNor"/>
                <a:cs typeface="Tele-GroteskNor"/>
              </a:rPr>
              <a:t>D4CTZA00BR</a:t>
            </a:r>
            <a:r>
              <a:rPr sz="1350" spc="-45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d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 err="1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2025" b="1" baseline="2057" dirty="0" err="1">
                <a:solidFill>
                  <a:srgbClr val="FFFFFF"/>
                </a:solidFill>
                <a:latin typeface="Tele-GroteskNor"/>
                <a:cs typeface="Tele-GroteskNor"/>
              </a:rPr>
              <a:t>ea</a:t>
            </a:r>
            <a:r>
              <a:rPr lang="de-DE" sz="2025" b="1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Beam</a:t>
            </a:r>
            <a:r>
              <a:rPr sz="2025" b="1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ten</a:t>
            </a:r>
            <a:r>
              <a:rPr sz="2025" b="1" spc="-60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2025" b="1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auf</a:t>
            </a:r>
            <a:r>
              <a:rPr sz="2025" b="1" spc="-37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2025" b="1" spc="-7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die</a:t>
            </a:r>
            <a:r>
              <a:rPr lang="de-DE" sz="2025" b="1" spc="-7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2025" b="1" spc="-7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D1ATZA00BR</a:t>
            </a:r>
            <a:r>
              <a:rPr sz="2025" b="1" spc="-82" baseline="2057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.</a:t>
            </a:r>
            <a:endParaRPr sz="1350" dirty="0">
              <a:latin typeface="Tele-GroteskNor"/>
              <a:cs typeface="Tele-GroteskNor"/>
            </a:endParaRPr>
          </a:p>
          <a:p>
            <a:pPr marL="873760" indent="-285115">
              <a:lnSpc>
                <a:spcPct val="100000"/>
              </a:lnSpc>
              <a:spcBef>
                <a:spcPts val="26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873125" algn="l"/>
                <a:tab pos="87376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anfallenden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für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„externe-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Kräfte“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rechnen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ie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bitte</a:t>
            </a:r>
            <a:r>
              <a:rPr sz="1350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5" dirty="0">
                <a:solidFill>
                  <a:srgbClr val="494949"/>
                </a:solidFill>
                <a:latin typeface="Tele-GroteskNor"/>
                <a:cs typeface="Tele-GroteskNor"/>
              </a:rPr>
              <a:t>mit</a:t>
            </a:r>
            <a:r>
              <a:rPr sz="1350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Hilfe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ines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formulars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über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</a:t>
            </a:r>
            <a:r>
              <a:rPr sz="1350" spc="-8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4CTZA00BR</a:t>
            </a:r>
            <a:r>
              <a:rPr sz="1350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b.</a:t>
            </a:r>
            <a:endParaRPr sz="1350" dirty="0">
              <a:latin typeface="Tele-GroteskNor"/>
              <a:cs typeface="Tele-GroteskNor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Clr>
                <a:srgbClr val="E00074"/>
              </a:buClr>
              <a:buFont typeface="Wingdings"/>
              <a:buChar char=""/>
            </a:pPr>
            <a:endParaRPr sz="1800" dirty="0">
              <a:latin typeface="Tele-GroteskNor"/>
              <a:cs typeface="Tele-GroteskNor"/>
            </a:endParaRPr>
          </a:p>
          <a:p>
            <a:pPr marL="906780" indent="-318770">
              <a:lnSpc>
                <a:spcPct val="100000"/>
              </a:lnSpc>
              <a:buClr>
                <a:srgbClr val="E00074"/>
              </a:buClr>
              <a:buSzPct val="70370"/>
              <a:buFont typeface="Wingdings"/>
              <a:buChar char=""/>
              <a:tabLst>
                <a:tab pos="906780" algn="l"/>
                <a:tab pos="907415" algn="l"/>
              </a:tabLst>
            </a:pP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Möglichst </a:t>
            </a:r>
            <a:r>
              <a:rPr sz="1350" u="sng" spc="-2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nach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Rückkehr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ollten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</a:t>
            </a:r>
            <a:r>
              <a:rPr sz="1350" spc="-1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bgerechnetwerden.</a:t>
            </a:r>
            <a:endParaRPr sz="1350" dirty="0">
              <a:latin typeface="Tele-GroteskNor"/>
              <a:cs typeface="Tele-GroteskNor"/>
            </a:endParaRPr>
          </a:p>
          <a:p>
            <a:pPr marL="873760" indent="-285115">
              <a:lnSpc>
                <a:spcPct val="100000"/>
              </a:lnSpc>
              <a:spcBef>
                <a:spcPts val="135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873125" algn="l"/>
                <a:tab pos="873760" algn="l"/>
              </a:tabLst>
            </a:pP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In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erfassung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im</a:t>
            </a:r>
            <a:r>
              <a:rPr sz="1350" spc="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myPortal</a:t>
            </a:r>
            <a:r>
              <a:rPr sz="1350" spc="-4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können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 Reisekosten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grundsätzlich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nur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uf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 die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igene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Gesellschaft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gebucht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werden</a:t>
            </a:r>
            <a:r>
              <a:rPr sz="1350" spc="-4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(Buchung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Reisemittel).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Um</a:t>
            </a:r>
            <a:endParaRPr sz="1350" dirty="0">
              <a:latin typeface="Tele-GroteskNor"/>
              <a:cs typeface="Tele-GroteskNor"/>
            </a:endParaRPr>
          </a:p>
          <a:p>
            <a:pPr marL="873760">
              <a:lnSpc>
                <a:spcPct val="100000"/>
              </a:lnSpc>
              <a:spcBef>
                <a:spcPts val="75"/>
              </a:spcBef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Kosten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uf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R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zu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buchen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muss</a:t>
            </a:r>
            <a:r>
              <a:rPr sz="1350" u="sng" spc="-7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bei</a:t>
            </a:r>
            <a:r>
              <a:rPr sz="1350" u="sng" spc="-2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er</a:t>
            </a:r>
            <a:r>
              <a:rPr sz="1350" u="sng" spc="-4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Abrechnung</a:t>
            </a:r>
            <a:r>
              <a:rPr sz="1350" u="sng" spc="-4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er</a:t>
            </a:r>
            <a:r>
              <a:rPr sz="1350" u="sng" spc="-5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Kosten</a:t>
            </a:r>
            <a:r>
              <a:rPr sz="1350" u="sng" spc="-3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eine</a:t>
            </a:r>
            <a:r>
              <a:rPr sz="1350" u="sng" spc="-3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Weiterbelastung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rfolgen.</a:t>
            </a:r>
            <a:endParaRPr sz="1350" dirty="0">
              <a:latin typeface="Tele-GroteskNor"/>
              <a:cs typeface="Tele-GroteskNor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900" dirty="0">
              <a:latin typeface="Tele-GroteskNor"/>
              <a:cs typeface="Tele-GroteskNor"/>
            </a:endParaRPr>
          </a:p>
          <a:p>
            <a:pPr marL="12700">
              <a:lnSpc>
                <a:spcPct val="100000"/>
              </a:lnSpc>
            </a:pPr>
            <a:r>
              <a:rPr sz="1350" b="1" spc="-5" dirty="0">
                <a:solidFill>
                  <a:srgbClr val="494949"/>
                </a:solidFill>
                <a:latin typeface="Tele-GroteskNor"/>
                <a:cs typeface="Tele-GroteskNor"/>
              </a:rPr>
              <a:t>Hinweise </a:t>
            </a:r>
            <a:r>
              <a:rPr sz="1350" b="1" dirty="0">
                <a:solidFill>
                  <a:srgbClr val="494949"/>
                </a:solidFill>
                <a:latin typeface="Tele-GroteskNor"/>
                <a:cs typeface="Tele-GroteskNor"/>
              </a:rPr>
              <a:t>zur Erstellung</a:t>
            </a:r>
            <a:r>
              <a:rPr sz="1350" b="1" spc="-1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-10" dirty="0">
                <a:solidFill>
                  <a:srgbClr val="494949"/>
                </a:solidFill>
                <a:latin typeface="Tele-GroteskNor"/>
                <a:cs typeface="Tele-GroteskNor"/>
              </a:rPr>
              <a:t>derReiskostenabrechnung:</a:t>
            </a:r>
            <a:endParaRPr sz="1350" dirty="0">
              <a:latin typeface="Tele-GroteskNor"/>
              <a:cs typeface="Tele-GroteskNor"/>
            </a:endParaRPr>
          </a:p>
          <a:p>
            <a:pPr marL="1449705" lvl="1" indent="-285750">
              <a:lnSpc>
                <a:spcPct val="100000"/>
              </a:lnSpc>
              <a:spcBef>
                <a:spcPts val="30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1449705" algn="l"/>
                <a:tab pos="1450340" algn="l"/>
              </a:tabLst>
            </a:pP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In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MyPortal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w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gewohnt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ter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Rubrik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Reisen/</a:t>
            </a:r>
            <a:r>
              <a:rPr lang="de-DE" sz="1350" spc="10" dirty="0">
                <a:solidFill>
                  <a:srgbClr val="494949"/>
                </a:solidFill>
                <a:latin typeface="Tele-GroteskNor"/>
                <a:cs typeface="Tele-GroteskNor"/>
              </a:rPr>
              <a:t>m</a:t>
            </a:r>
            <a:r>
              <a:rPr sz="1350" dirty="0" err="1">
                <a:solidFill>
                  <a:srgbClr val="494949"/>
                </a:solidFill>
                <a:latin typeface="Tele-GroteskNor"/>
                <a:cs typeface="Tele-GroteskNor"/>
              </a:rPr>
              <a:t>eine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kosten</a:t>
            </a:r>
            <a:r>
              <a:rPr sz="1350" spc="-10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rfassen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Reise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15" dirty="0">
                <a:solidFill>
                  <a:srgbClr val="494949"/>
                </a:solidFill>
                <a:latin typeface="Tele-GroteskNor"/>
                <a:cs typeface="Tele-GroteskNor"/>
              </a:rPr>
              <a:t>mit</a:t>
            </a:r>
            <a:r>
              <a:rPr sz="1350" spc="-6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allen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erforderlichen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aten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eingeben.</a:t>
            </a:r>
            <a:endParaRPr sz="1350" dirty="0">
              <a:latin typeface="Tele-GroteskNor"/>
              <a:cs typeface="Tele-GroteskNor"/>
            </a:endParaRPr>
          </a:p>
          <a:p>
            <a:pPr marL="1449705" lvl="1" indent="-285750">
              <a:lnSpc>
                <a:spcPct val="100000"/>
              </a:lnSpc>
              <a:spcBef>
                <a:spcPts val="30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1449705" algn="l"/>
                <a:tab pos="145034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Bitte</a:t>
            </a:r>
            <a:r>
              <a:rPr sz="1350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uf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4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rsten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eite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keinen</a:t>
            </a:r>
            <a:r>
              <a:rPr sz="1350" b="1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Haken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i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„die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Reise</a:t>
            </a:r>
            <a:r>
              <a:rPr sz="1350" spc="-6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fand</a:t>
            </a:r>
            <a:r>
              <a:rPr sz="1350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im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 Rahmen</a:t>
            </a:r>
            <a:r>
              <a:rPr sz="1350" spc="-9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iner</a:t>
            </a:r>
            <a:r>
              <a:rPr sz="1350" spc="-4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Betriebsrats-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bzw.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SchwBV-Tätigkeit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tatt“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etzen.</a:t>
            </a:r>
            <a:endParaRPr sz="1350" dirty="0">
              <a:latin typeface="Tele-GroteskNor"/>
              <a:cs typeface="Tele-GroteskNor"/>
            </a:endParaRPr>
          </a:p>
          <a:p>
            <a:pPr marL="1449705" lvl="1" indent="-285750">
              <a:lnSpc>
                <a:spcPct val="100000"/>
              </a:lnSpc>
              <a:spcBef>
                <a:spcPts val="305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1449705" algn="l"/>
                <a:tab pos="1450340" algn="l"/>
              </a:tabLst>
            </a:pP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Nachdem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ie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Reise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ngelegt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haben,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ergänzen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ie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itte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uf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r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zweiten</a:t>
            </a:r>
            <a:r>
              <a:rPr sz="1350" u="sng" spc="-7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Seite</a:t>
            </a:r>
            <a:r>
              <a:rPr sz="1350" u="sng" spc="-3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Ihre</a:t>
            </a:r>
            <a:r>
              <a:rPr sz="1350" u="sng" spc="-3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Reisedaten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.</a:t>
            </a:r>
            <a:endParaRPr sz="1350" dirty="0">
              <a:latin typeface="Tele-GroteskNor"/>
              <a:cs typeface="Tele-GroteskNor"/>
            </a:endParaRPr>
          </a:p>
          <a:p>
            <a:pPr marL="1449705" marR="78105" lvl="1" indent="-285115">
              <a:lnSpc>
                <a:spcPct val="104099"/>
              </a:lnSpc>
              <a:spcBef>
                <a:spcPts val="65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1449705" algn="l"/>
                <a:tab pos="145034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Bitte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geben Sie als</a:t>
            </a:r>
            <a:r>
              <a:rPr sz="1350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Reisegrund </a:t>
            </a:r>
            <a:r>
              <a:rPr sz="1350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„Betriebsversammlung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“,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sowie unter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m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Punkt Zusatzinformationen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i Tätigkeit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„Betriebsversammlung“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an und </a:t>
            </a:r>
            <a:r>
              <a:rPr sz="1350" u="sng" spc="-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 </a:t>
            </a:r>
            <a:r>
              <a:rPr sz="1350" b="1" u="sng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ändern</a:t>
            </a:r>
            <a:r>
              <a:rPr sz="1350" b="1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Sie </a:t>
            </a:r>
            <a:r>
              <a:rPr sz="1350" b="1" u="sng" spc="-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anach </a:t>
            </a:r>
            <a:r>
              <a:rPr sz="1350" b="1" u="sng" spc="10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die </a:t>
            </a:r>
            <a:r>
              <a:rPr sz="1350" b="1" u="sng" spc="-15" dirty="0">
                <a:solidFill>
                  <a:srgbClr val="494949"/>
                </a:solidFill>
                <a:uFill>
                  <a:solidFill>
                    <a:srgbClr val="494949"/>
                  </a:solidFill>
                </a:uFill>
                <a:latin typeface="Tele-GroteskNor"/>
                <a:cs typeface="Tele-GroteskNor"/>
              </a:rPr>
              <a:t>Kostenzuordnung</a:t>
            </a:r>
            <a:r>
              <a:rPr sz="1350" b="1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- Hier ist Ihre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Stammkostenstelle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zu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löschen und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s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Betriebsrats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inzugeben. 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Zugewiesen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-10" dirty="0">
                <a:solidFill>
                  <a:srgbClr val="FFFFFF"/>
                </a:solidFill>
                <a:latin typeface="Tele-GroteskNor"/>
                <a:cs typeface="Tele-GroteskNor"/>
              </a:rPr>
              <a:t>Beamte/innen</a:t>
            </a:r>
            <a:r>
              <a:rPr sz="1350" b="1" spc="-7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b="1" dirty="0">
                <a:solidFill>
                  <a:srgbClr val="FFFFFF"/>
                </a:solidFill>
                <a:latin typeface="Tele-GroteskNor"/>
                <a:cs typeface="Tele-GroteskNor"/>
              </a:rPr>
              <a:t>geben</a:t>
            </a:r>
            <a:r>
              <a:rPr sz="1350" b="1" spc="-7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b="1" spc="10" dirty="0">
                <a:solidFill>
                  <a:srgbClr val="FFFFFF"/>
                </a:solidFill>
                <a:latin typeface="Tele-GroteskNor"/>
                <a:cs typeface="Tele-GroteskNor"/>
              </a:rPr>
              <a:t>die</a:t>
            </a:r>
            <a:r>
              <a:rPr sz="1350" b="1" spc="-65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b="1" spc="-10" dirty="0">
                <a:solidFill>
                  <a:srgbClr val="FFFFFF"/>
                </a:solidFill>
                <a:latin typeface="Tele-GroteskNor"/>
                <a:cs typeface="Tele-GroteskNor"/>
              </a:rPr>
              <a:t>Kostenstelle</a:t>
            </a:r>
            <a:r>
              <a:rPr sz="1350" b="1" spc="-75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b="1" spc="-20" dirty="0">
                <a:solidFill>
                  <a:srgbClr val="FFFFFF"/>
                </a:solidFill>
                <a:latin typeface="Tele-GroteskNor"/>
                <a:cs typeface="Tele-GroteskNor"/>
              </a:rPr>
              <a:t>D1ATZA00BR</a:t>
            </a:r>
            <a:r>
              <a:rPr sz="1350" b="1" spc="-65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in,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alle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-5" dirty="0">
                <a:solidFill>
                  <a:srgbClr val="494949"/>
                </a:solidFill>
                <a:latin typeface="Tele-GroteskNor"/>
                <a:cs typeface="Tele-GroteskNor"/>
              </a:rPr>
              <a:t>anderen</a:t>
            </a:r>
            <a:r>
              <a:rPr sz="1350" b="1" spc="-8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dirty="0">
                <a:solidFill>
                  <a:srgbClr val="494949"/>
                </a:solidFill>
                <a:latin typeface="Tele-GroteskNor"/>
                <a:cs typeface="Tele-GroteskNor"/>
              </a:rPr>
              <a:t>Beschäftigten</a:t>
            </a:r>
            <a:r>
              <a:rPr sz="1350" b="1" spc="-9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10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b="1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</a:t>
            </a:r>
            <a:r>
              <a:rPr sz="1350" b="1" spc="-8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b="1" dirty="0">
                <a:solidFill>
                  <a:srgbClr val="494949"/>
                </a:solidFill>
                <a:latin typeface="Tele-GroteskNor"/>
                <a:cs typeface="Tele-GroteskNor"/>
              </a:rPr>
              <a:t>D4CTZA00BR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.</a:t>
            </a:r>
            <a:endParaRPr sz="1350" dirty="0">
              <a:latin typeface="Tele-GroteskNor"/>
              <a:cs typeface="Tele-GroteskNor"/>
            </a:endParaRPr>
          </a:p>
          <a:p>
            <a:pPr marL="873760" indent="-285115">
              <a:lnSpc>
                <a:spcPct val="100000"/>
              </a:lnSpc>
              <a:spcBef>
                <a:spcPts val="43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873125" algn="l"/>
                <a:tab pos="873760" algn="l"/>
              </a:tabLst>
            </a:pP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ter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m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Punkt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Pauschalen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für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Verpflegung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den</a:t>
            </a:r>
            <a:r>
              <a:rPr sz="1350" spc="-2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Haken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i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 „Verpflegung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d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Pauschalen“</a:t>
            </a:r>
            <a:r>
              <a:rPr sz="1350" spc="-3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rin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lassen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und </a:t>
            </a: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Abzüge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für</a:t>
            </a:r>
            <a:r>
              <a:rPr sz="1350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Verpflegung</a:t>
            </a:r>
            <a:r>
              <a:rPr sz="1350" spc="-6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rfassen.</a:t>
            </a:r>
            <a:endParaRPr sz="1350" dirty="0">
              <a:latin typeface="Tele-GroteskNor"/>
              <a:cs typeface="Tele-GroteskNor"/>
            </a:endParaRPr>
          </a:p>
          <a:p>
            <a:pPr marL="873760" indent="-285115">
              <a:lnSpc>
                <a:spcPct val="100000"/>
              </a:lnSpc>
              <a:spcBef>
                <a:spcPts val="300"/>
              </a:spcBef>
              <a:buClr>
                <a:srgbClr val="E00074"/>
              </a:buClr>
              <a:buSzPct val="70370"/>
              <a:buFont typeface="Wingdings"/>
              <a:buChar char=""/>
              <a:tabLst>
                <a:tab pos="873125" algn="l"/>
                <a:tab pos="873760" algn="l"/>
              </a:tabLst>
            </a:pPr>
            <a:r>
              <a:rPr sz="1350" spc="5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350" spc="-3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weitere</a:t>
            </a:r>
            <a:r>
              <a:rPr sz="1350" spc="-7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Bearbeitung</a:t>
            </a:r>
            <a:r>
              <a:rPr sz="1350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erfolgt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5" dirty="0">
                <a:solidFill>
                  <a:srgbClr val="494949"/>
                </a:solidFill>
                <a:latin typeface="Tele-GroteskNor"/>
                <a:cs typeface="Tele-GroteskNor"/>
              </a:rPr>
              <a:t>dann</a:t>
            </a:r>
            <a:r>
              <a:rPr sz="1350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20" dirty="0">
                <a:solidFill>
                  <a:srgbClr val="494949"/>
                </a:solidFill>
                <a:latin typeface="Tele-GroteskNor"/>
                <a:cs typeface="Tele-GroteskNor"/>
              </a:rPr>
              <a:t>nach</a:t>
            </a:r>
            <a:r>
              <a:rPr sz="1350" spc="-1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dirty="0">
                <a:solidFill>
                  <a:srgbClr val="494949"/>
                </a:solidFill>
                <a:latin typeface="Tele-GroteskNor"/>
                <a:cs typeface="Tele-GroteskNor"/>
              </a:rPr>
              <a:t>Ihrem</a:t>
            </a:r>
            <a:r>
              <a:rPr sz="1350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persönlichen</a:t>
            </a:r>
            <a:r>
              <a:rPr sz="1350" spc="-8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350" spc="-10" dirty="0">
                <a:solidFill>
                  <a:srgbClr val="494949"/>
                </a:solidFill>
                <a:latin typeface="Tele-GroteskNor"/>
                <a:cs typeface="Tele-GroteskNor"/>
              </a:rPr>
              <a:t>Reiseverlauf.</a:t>
            </a:r>
            <a:endParaRPr sz="1350" dirty="0">
              <a:latin typeface="Tele-GroteskNor"/>
              <a:cs typeface="Tele-GroteskNor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2</a:t>
            </a:fld>
            <a:endParaRPr spc="-5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74CD449A-853F-D381-BDD9-E29233D8C2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36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CD449A-853F-D381-BDD9-E29233D8C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323494" y="622808"/>
            <a:ext cx="1165860" cy="0"/>
          </a:xfrm>
          <a:custGeom>
            <a:avLst/>
            <a:gdLst/>
            <a:ahLst/>
            <a:cxnLst/>
            <a:rect l="l" t="t" r="r" b="b"/>
            <a:pathLst>
              <a:path w="1165860">
                <a:moveTo>
                  <a:pt x="0" y="0"/>
                </a:moveTo>
                <a:lnTo>
                  <a:pt x="1165859" y="0"/>
                </a:lnTo>
              </a:path>
            </a:pathLst>
          </a:custGeom>
          <a:ln w="54863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10692" y="172974"/>
            <a:ext cx="619315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Seite 1 -</a:t>
            </a:r>
            <a:r>
              <a:rPr spc="-50" dirty="0"/>
              <a:t> </a:t>
            </a:r>
            <a:r>
              <a:rPr spc="-5" dirty="0"/>
              <a:t>Reisekostenabrechnung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6291580" y="5780758"/>
            <a:ext cx="244094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5" dirty="0">
                <a:solidFill>
                  <a:srgbClr val="494949"/>
                </a:solidFill>
                <a:latin typeface="Tele-GroteskNor"/>
                <a:cs typeface="Tele-GroteskNor"/>
              </a:rPr>
              <a:t>Hier </a:t>
            </a:r>
            <a:r>
              <a:rPr sz="1800" b="1" u="sng" dirty="0">
                <a:solidFill>
                  <a:srgbClr val="E00074"/>
                </a:solidFill>
                <a:uFill>
                  <a:solidFill>
                    <a:srgbClr val="E00074"/>
                  </a:solidFill>
                </a:uFill>
                <a:latin typeface="Tele-GroteskNor"/>
                <a:cs typeface="Tele-GroteskNor"/>
              </a:rPr>
              <a:t>keinen</a:t>
            </a:r>
            <a:r>
              <a:rPr sz="1800" b="1" dirty="0">
                <a:solidFill>
                  <a:srgbClr val="E00074"/>
                </a:solidFill>
                <a:latin typeface="Tele-GroteskNor"/>
                <a:cs typeface="Tele-GroteskNor"/>
              </a:rPr>
              <a:t> </a:t>
            </a:r>
            <a:r>
              <a:rPr sz="1800" spc="-5" dirty="0">
                <a:solidFill>
                  <a:srgbClr val="494949"/>
                </a:solidFill>
                <a:latin typeface="Tele-GroteskNor"/>
                <a:cs typeface="Tele-GroteskNor"/>
              </a:rPr>
              <a:t>Haken</a:t>
            </a:r>
            <a:r>
              <a:rPr sz="1800" spc="-9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800" spc="-5" dirty="0">
                <a:solidFill>
                  <a:srgbClr val="494949"/>
                </a:solidFill>
                <a:latin typeface="Tele-GroteskNor"/>
                <a:cs typeface="Tele-GroteskNor"/>
              </a:rPr>
              <a:t>reinsetzen</a:t>
            </a:r>
            <a:endParaRPr sz="1800" dirty="0">
              <a:latin typeface="Tele-GroteskNor"/>
              <a:cs typeface="Tele-GroteskNor"/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3</a:t>
            </a:fld>
            <a:endParaRPr spc="-5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44406927-47D1-01F1-B9B8-75EDEC2C6E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59430" y="3241663"/>
            <a:ext cx="40" cy="2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1101DDA-045A-96A0-2AD3-CAB13950F0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1895" y="2504247"/>
            <a:ext cx="6353824" cy="308779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FE672425-65AA-FB83-D046-58D15F0001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650" y="814075"/>
            <a:ext cx="6353824" cy="152552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2195129B-C895-2063-43C2-5006640299DF}"/>
              </a:ext>
            </a:extLst>
          </p:cNvPr>
          <p:cNvCxnSpPr>
            <a:cxnSpLocks/>
            <a:stCxn id="6" idx="0"/>
          </p:cNvCxnSpPr>
          <p:nvPr/>
        </p:nvCxnSpPr>
        <p:spPr>
          <a:xfrm flipV="1">
            <a:off x="7512050" y="5375275"/>
            <a:ext cx="914400" cy="405483"/>
          </a:xfrm>
          <a:prstGeom prst="straightConnector1">
            <a:avLst/>
          </a:prstGeom>
          <a:ln w="28575">
            <a:solidFill>
              <a:srgbClr val="E200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FAE3C4BE-0CD9-AA23-3A09-348DA3D456D7}"/>
              </a:ext>
            </a:extLst>
          </p:cNvPr>
          <p:cNvSpPr/>
          <p:nvPr/>
        </p:nvSpPr>
        <p:spPr>
          <a:xfrm>
            <a:off x="4768850" y="2098675"/>
            <a:ext cx="381000" cy="216852"/>
          </a:xfrm>
          <a:prstGeom prst="roundRect">
            <a:avLst/>
          </a:prstGeom>
          <a:noFill/>
          <a:ln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EA3C8B3-7B35-B030-CC51-35776AF9DCD7}"/>
              </a:ext>
            </a:extLst>
          </p:cNvPr>
          <p:cNvSpPr txBox="1"/>
          <p:nvPr/>
        </p:nvSpPr>
        <p:spPr>
          <a:xfrm>
            <a:off x="425450" y="3013075"/>
            <a:ext cx="2590800" cy="1477328"/>
          </a:xfrm>
          <a:prstGeom prst="rect">
            <a:avLst/>
          </a:prstGeom>
          <a:noFill/>
          <a:ln>
            <a:solidFill>
              <a:srgbClr val="E20074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Neue Reise anlegen entweder </a:t>
            </a:r>
            <a:br>
              <a:rPr lang="de-DE" dirty="0"/>
            </a:br>
            <a:r>
              <a:rPr lang="de-DE" dirty="0"/>
              <a:t>mit Belegpuffer </a:t>
            </a:r>
            <a:br>
              <a:rPr lang="de-DE" dirty="0"/>
            </a:br>
            <a:r>
              <a:rPr lang="de-DE" dirty="0"/>
              <a:t>oder </a:t>
            </a:r>
            <a:br>
              <a:rPr lang="de-DE" dirty="0"/>
            </a:br>
            <a:r>
              <a:rPr lang="de-DE" dirty="0"/>
              <a:t>ohne Reisemittel	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5E95E14C-CD9A-9088-AA73-40BB0150FE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54250" y="4159645"/>
            <a:ext cx="295316" cy="323895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2D4BCB1E-02C1-A05A-FA69-B7D33634205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97092" y="3580265"/>
            <a:ext cx="352474" cy="342948"/>
          </a:xfrm>
          <a:prstGeom prst="rect">
            <a:avLst/>
          </a:prstGeom>
        </p:spPr>
      </p:pic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4A75D516-85A0-FDDB-F1D7-6945B908DCC1}"/>
              </a:ext>
            </a:extLst>
          </p:cNvPr>
          <p:cNvCxnSpPr/>
          <p:nvPr/>
        </p:nvCxnSpPr>
        <p:spPr>
          <a:xfrm flipV="1">
            <a:off x="1568450" y="2098675"/>
            <a:ext cx="3200400" cy="838200"/>
          </a:xfrm>
          <a:prstGeom prst="straightConnector1">
            <a:avLst/>
          </a:prstGeom>
          <a:ln w="28575">
            <a:solidFill>
              <a:srgbClr val="E200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75A2E3A4-AA6E-52C3-F1E3-89882C86D11B}"/>
              </a:ext>
            </a:extLst>
          </p:cNvPr>
          <p:cNvSpPr/>
          <p:nvPr/>
        </p:nvSpPr>
        <p:spPr>
          <a:xfrm>
            <a:off x="8426450" y="3622675"/>
            <a:ext cx="1981200" cy="536970"/>
          </a:xfrm>
          <a:prstGeom prst="roundRect">
            <a:avLst/>
          </a:prstGeom>
          <a:noFill/>
          <a:ln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24F342D-1A5C-3413-F894-7E8EEA729DFD}"/>
              </a:ext>
            </a:extLst>
          </p:cNvPr>
          <p:cNvSpPr txBox="1"/>
          <p:nvPr/>
        </p:nvSpPr>
        <p:spPr>
          <a:xfrm>
            <a:off x="8045450" y="1031875"/>
            <a:ext cx="2438400" cy="923330"/>
          </a:xfrm>
          <a:prstGeom prst="rect">
            <a:avLst/>
          </a:prstGeom>
          <a:noFill/>
          <a:ln>
            <a:solidFill>
              <a:srgbClr val="E20074"/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r>
              <a:rPr lang="de-DE" dirty="0"/>
              <a:t>Hier die Tätigkeit </a:t>
            </a:r>
            <a:br>
              <a:rPr lang="de-DE" dirty="0"/>
            </a:br>
            <a:r>
              <a:rPr lang="de-DE" dirty="0"/>
              <a:t>„Betriebsversammlung“ auswählen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F97A678B-7E2F-9D05-FB9D-3FF1511D968A}"/>
              </a:ext>
            </a:extLst>
          </p:cNvPr>
          <p:cNvCxnSpPr>
            <a:cxnSpLocks/>
          </p:cNvCxnSpPr>
          <p:nvPr/>
        </p:nvCxnSpPr>
        <p:spPr>
          <a:xfrm>
            <a:off x="9671317" y="2026984"/>
            <a:ext cx="0" cy="1490746"/>
          </a:xfrm>
          <a:prstGeom prst="straightConnector1">
            <a:avLst/>
          </a:prstGeom>
          <a:ln w="28575">
            <a:solidFill>
              <a:srgbClr val="E200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>
            <a:extLst>
              <a:ext uri="{FF2B5EF4-FFF2-40B4-BE49-F238E27FC236}">
                <a16:creationId xmlns:a16="http://schemas.microsoft.com/office/drawing/2014/main" id="{B76CF2D9-D386-246C-ABD0-B7F30B5AB4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680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2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6CF2D9-D386-246C-ABD0-B7F30B5AB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323494" y="622808"/>
            <a:ext cx="1226820" cy="0"/>
          </a:xfrm>
          <a:custGeom>
            <a:avLst/>
            <a:gdLst/>
            <a:ahLst/>
            <a:cxnLst/>
            <a:rect l="l" t="t" r="r" b="b"/>
            <a:pathLst>
              <a:path w="1226820">
                <a:moveTo>
                  <a:pt x="0" y="0"/>
                </a:moveTo>
                <a:lnTo>
                  <a:pt x="1226820" y="0"/>
                </a:lnTo>
              </a:path>
            </a:pathLst>
          </a:custGeom>
          <a:ln w="54863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10692" y="172974"/>
            <a:ext cx="624967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Seite 2 -</a:t>
            </a:r>
            <a:r>
              <a:rPr spc="-90" dirty="0"/>
              <a:t> </a:t>
            </a:r>
            <a:r>
              <a:rPr spc="-5" dirty="0"/>
              <a:t>Reisekostenabrechnung</a:t>
            </a:r>
          </a:p>
        </p:txBody>
      </p:sp>
      <p:sp>
        <p:nvSpPr>
          <p:cNvPr id="4" name="object 4"/>
          <p:cNvSpPr/>
          <p:nvPr/>
        </p:nvSpPr>
        <p:spPr>
          <a:xfrm>
            <a:off x="7859268" y="4462272"/>
            <a:ext cx="2199005" cy="190500"/>
          </a:xfrm>
          <a:custGeom>
            <a:avLst/>
            <a:gdLst/>
            <a:ahLst/>
            <a:cxnLst/>
            <a:rect l="l" t="t" r="r" b="b"/>
            <a:pathLst>
              <a:path w="2199004" h="190500">
                <a:moveTo>
                  <a:pt x="0" y="190500"/>
                </a:moveTo>
                <a:lnTo>
                  <a:pt x="2198624" y="190500"/>
                </a:lnTo>
                <a:lnTo>
                  <a:pt x="2198624" y="0"/>
                </a:lnTo>
                <a:lnTo>
                  <a:pt x="0" y="0"/>
                </a:lnTo>
                <a:lnTo>
                  <a:pt x="0" y="190500"/>
                </a:lnTo>
                <a:close/>
              </a:path>
            </a:pathLst>
          </a:custGeom>
          <a:solidFill>
            <a:srgbClr val="800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859268" y="5163311"/>
            <a:ext cx="941705" cy="190500"/>
          </a:xfrm>
          <a:custGeom>
            <a:avLst/>
            <a:gdLst/>
            <a:ahLst/>
            <a:cxnLst/>
            <a:rect l="l" t="t" r="r" b="b"/>
            <a:pathLst>
              <a:path w="941704" h="190500">
                <a:moveTo>
                  <a:pt x="0" y="190500"/>
                </a:moveTo>
                <a:lnTo>
                  <a:pt x="941324" y="190500"/>
                </a:lnTo>
                <a:lnTo>
                  <a:pt x="941324" y="0"/>
                </a:lnTo>
                <a:lnTo>
                  <a:pt x="0" y="0"/>
                </a:lnTo>
                <a:lnTo>
                  <a:pt x="0" y="190500"/>
                </a:lnTo>
                <a:close/>
              </a:path>
            </a:pathLst>
          </a:custGeom>
          <a:solidFill>
            <a:srgbClr val="00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9225244" y="1668780"/>
            <a:ext cx="1766797" cy="504625"/>
          </a:xfrm>
          <a:prstGeom prst="rect">
            <a:avLst/>
          </a:prstGeom>
          <a:ln w="19050">
            <a:solidFill>
              <a:srgbClr val="E20074"/>
            </a:solidFill>
          </a:ln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de-DE" sz="1600" spc="-5" dirty="0">
                <a:solidFill>
                  <a:srgbClr val="494949"/>
                </a:solidFill>
                <a:latin typeface="Tele-GroteskNor"/>
                <a:cs typeface="Tele-GroteskNor"/>
              </a:rPr>
              <a:t>Vorhandenen Eintrag anklicken</a:t>
            </a:r>
            <a:endParaRPr sz="1600" dirty="0">
              <a:latin typeface="Tele-GroteskNor"/>
              <a:cs typeface="Tele-GroteskNor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848345" y="3626764"/>
            <a:ext cx="2733675" cy="10471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3970" marR="5080" algn="just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494949"/>
                </a:solidFill>
                <a:latin typeface="Tele-GroteskNor"/>
                <a:cs typeface="Tele-GroteskNor"/>
              </a:rPr>
              <a:t>An dieser Stelle bitte Ihre(vorbelegte)  </a:t>
            </a:r>
            <a:r>
              <a:rPr sz="1600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 </a:t>
            </a:r>
            <a:r>
              <a:rPr sz="1600" spc="-5" dirty="0">
                <a:solidFill>
                  <a:srgbClr val="494949"/>
                </a:solidFill>
                <a:latin typeface="Tele-GroteskNor"/>
                <a:cs typeface="Tele-GroteskNor"/>
              </a:rPr>
              <a:t>mit der </a:t>
            </a:r>
            <a:r>
              <a:rPr sz="1600" spc="-10" dirty="0">
                <a:solidFill>
                  <a:srgbClr val="494949"/>
                </a:solidFill>
                <a:latin typeface="Tele-GroteskNor"/>
                <a:cs typeface="Tele-GroteskNor"/>
              </a:rPr>
              <a:t>Kostenstelle </a:t>
            </a:r>
            <a:r>
              <a:rPr sz="1600" spc="-5" dirty="0">
                <a:solidFill>
                  <a:srgbClr val="494949"/>
                </a:solidFill>
                <a:latin typeface="Tele-GroteskNor"/>
                <a:cs typeface="Tele-GroteskNor"/>
              </a:rPr>
              <a:t>des  BR </a:t>
            </a:r>
            <a:r>
              <a:rPr sz="1600" spc="-10" dirty="0">
                <a:solidFill>
                  <a:srgbClr val="494949"/>
                </a:solidFill>
                <a:latin typeface="Tele-GroteskNor"/>
                <a:cs typeface="Tele-GroteskNor"/>
              </a:rPr>
              <a:t>überschreiben:</a:t>
            </a:r>
            <a:endParaRPr sz="1600" dirty="0">
              <a:latin typeface="Tele-GroteskNor"/>
              <a:cs typeface="Tele-GroteskNor"/>
            </a:endParaRPr>
          </a:p>
          <a:p>
            <a:pPr marL="12700" algn="just">
              <a:lnSpc>
                <a:spcPct val="100000"/>
              </a:lnSpc>
              <a:spcBef>
                <a:spcPts val="605"/>
              </a:spcBef>
            </a:pPr>
            <a:r>
              <a:rPr sz="1400" b="1" dirty="0">
                <a:solidFill>
                  <a:srgbClr val="FFFFFF"/>
                </a:solidFill>
                <a:latin typeface="Tele-GroteskNor"/>
                <a:cs typeface="Tele-GroteskNor"/>
              </a:rPr>
              <a:t>Arbeitnehmer ändern </a:t>
            </a:r>
            <a:r>
              <a:rPr sz="1400" b="1" spc="5" dirty="0">
                <a:solidFill>
                  <a:srgbClr val="FFFFFF"/>
                </a:solidFill>
                <a:latin typeface="Tele-GroteskNor"/>
                <a:cs typeface="Tele-GroteskNor"/>
              </a:rPr>
              <a:t>bitte</a:t>
            </a:r>
            <a:r>
              <a:rPr sz="1400" b="1" spc="-75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400" b="1" spc="40" dirty="0">
                <a:solidFill>
                  <a:srgbClr val="FFFFFF"/>
                </a:solidFill>
                <a:latin typeface="Tele-GroteskNor"/>
                <a:cs typeface="Tele-GroteskNor"/>
              </a:rPr>
              <a:t>auf</a:t>
            </a:r>
            <a:r>
              <a:rPr lang="de-DE" sz="1400" b="1" spc="4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400" b="1" spc="40" dirty="0">
                <a:solidFill>
                  <a:srgbClr val="FFFFFF"/>
                </a:solidFill>
                <a:latin typeface="Tele-GroteskNor"/>
                <a:cs typeface="Tele-GroteskNor"/>
              </a:rPr>
              <a:t>die</a:t>
            </a:r>
            <a:endParaRPr sz="1400" dirty="0">
              <a:latin typeface="Tele-GroteskNor"/>
              <a:cs typeface="Tele-GroteskNor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859268" y="4681728"/>
            <a:ext cx="2040889" cy="268605"/>
          </a:xfrm>
          <a:prstGeom prst="rect">
            <a:avLst/>
          </a:prstGeom>
          <a:solidFill>
            <a:srgbClr val="800080"/>
          </a:solidFill>
        </p:spPr>
        <p:txBody>
          <a:bodyPr vert="horz" wrap="square" lIns="0" tIns="18415" rIns="0" bIns="0" rtlCol="0">
            <a:spAutoFit/>
          </a:bodyPr>
          <a:lstStyle/>
          <a:p>
            <a:pPr marL="1905">
              <a:lnSpc>
                <a:spcPct val="100000"/>
              </a:lnSpc>
              <a:spcBef>
                <a:spcPts val="145"/>
              </a:spcBef>
            </a:pPr>
            <a:r>
              <a:rPr sz="1400" b="1" spc="-5" dirty="0">
                <a:solidFill>
                  <a:srgbClr val="FFFFFF"/>
                </a:solidFill>
                <a:latin typeface="Tele-GroteskNor"/>
                <a:cs typeface="Tele-GroteskNor"/>
              </a:rPr>
              <a:t>Kostenstelle </a:t>
            </a:r>
            <a:r>
              <a:rPr sz="1400" b="1" dirty="0">
                <a:solidFill>
                  <a:srgbClr val="FFFFFF"/>
                </a:solidFill>
                <a:latin typeface="Tele-GroteskNor"/>
                <a:cs typeface="Tele-GroteskNor"/>
              </a:rPr>
              <a:t>D4CTZA00BR</a:t>
            </a:r>
            <a:r>
              <a:rPr sz="1400" b="1" spc="-190" dirty="0">
                <a:solidFill>
                  <a:srgbClr val="FFFFFF"/>
                </a:solidFill>
                <a:latin typeface="Tele-GroteskNor"/>
                <a:cs typeface="Tele-GroteskNor"/>
              </a:rPr>
              <a:t> </a:t>
            </a:r>
            <a:r>
              <a:rPr sz="1400" spc="-5" dirty="0">
                <a:solidFill>
                  <a:srgbClr val="494949"/>
                </a:solidFill>
                <a:latin typeface="Tele-GroteskNor"/>
                <a:cs typeface="Tele-GroteskNor"/>
              </a:rPr>
              <a:t>und</a:t>
            </a:r>
            <a:endParaRPr sz="1400" dirty="0">
              <a:latin typeface="Tele-GroteskNor"/>
              <a:cs typeface="Tele-GroteskNor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59268" y="4949952"/>
            <a:ext cx="2952115" cy="190500"/>
          </a:xfrm>
          <a:prstGeom prst="rect">
            <a:avLst/>
          </a:prstGeom>
          <a:solidFill>
            <a:srgbClr val="00FFFF"/>
          </a:solidFill>
        </p:spPr>
        <p:txBody>
          <a:bodyPr vert="horz" wrap="square" lIns="0" tIns="0" rIns="0" bIns="0" rtlCol="0">
            <a:spAutoFit/>
          </a:bodyPr>
          <a:lstStyle/>
          <a:p>
            <a:pPr marL="1905">
              <a:lnSpc>
                <a:spcPts val="1490"/>
              </a:lnSpc>
            </a:pPr>
            <a:r>
              <a:rPr sz="1400" b="1" spc="20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400" b="1" spc="-7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dirty="0">
                <a:solidFill>
                  <a:srgbClr val="494949"/>
                </a:solidFill>
                <a:latin typeface="Tele-GroteskNor"/>
                <a:cs typeface="Tele-GroteskNor"/>
              </a:rPr>
              <a:t>Beamten</a:t>
            </a:r>
            <a:r>
              <a:rPr sz="1400" b="1" spc="-6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spc="5" dirty="0">
                <a:solidFill>
                  <a:srgbClr val="494949"/>
                </a:solidFill>
                <a:latin typeface="Tele-GroteskNor"/>
                <a:cs typeface="Tele-GroteskNor"/>
              </a:rPr>
              <a:t>ändern</a:t>
            </a:r>
            <a:r>
              <a:rPr sz="1400" b="1" spc="-6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spc="5" dirty="0">
                <a:solidFill>
                  <a:srgbClr val="494949"/>
                </a:solidFill>
                <a:latin typeface="Tele-GroteskNor"/>
                <a:cs typeface="Tele-GroteskNor"/>
              </a:rPr>
              <a:t>bitte</a:t>
            </a:r>
            <a:r>
              <a:rPr sz="1400" b="1" spc="-5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dirty="0">
                <a:solidFill>
                  <a:srgbClr val="494949"/>
                </a:solidFill>
                <a:latin typeface="Tele-GroteskNor"/>
                <a:cs typeface="Tele-GroteskNor"/>
              </a:rPr>
              <a:t>auf</a:t>
            </a:r>
            <a:r>
              <a:rPr sz="1400" b="1" spc="-50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spc="20" dirty="0">
                <a:solidFill>
                  <a:srgbClr val="494949"/>
                </a:solidFill>
                <a:latin typeface="Tele-GroteskNor"/>
                <a:cs typeface="Tele-GroteskNor"/>
              </a:rPr>
              <a:t>die</a:t>
            </a:r>
            <a:r>
              <a:rPr sz="1400" b="1" spc="-45" dirty="0">
                <a:solidFill>
                  <a:srgbClr val="494949"/>
                </a:solidFill>
                <a:latin typeface="Tele-GroteskNor"/>
                <a:cs typeface="Tele-GroteskNor"/>
              </a:rPr>
              <a:t> </a:t>
            </a:r>
            <a:r>
              <a:rPr sz="1400" b="1" spc="-5" dirty="0">
                <a:solidFill>
                  <a:srgbClr val="494949"/>
                </a:solidFill>
                <a:latin typeface="Tele-GroteskNor"/>
                <a:cs typeface="Tele-GroteskNor"/>
              </a:rPr>
              <a:t>Kostenstelle</a:t>
            </a:r>
            <a:endParaRPr sz="1400">
              <a:latin typeface="Tele-GroteskNor"/>
              <a:cs typeface="Tele-GroteskNor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848345" y="5124704"/>
            <a:ext cx="95567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20" dirty="0">
                <a:solidFill>
                  <a:srgbClr val="494949"/>
                </a:solidFill>
                <a:latin typeface="Tele-GroteskNor"/>
                <a:cs typeface="Tele-GroteskNor"/>
              </a:rPr>
              <a:t>D1ATZA00BR.</a:t>
            </a:r>
            <a:endParaRPr sz="1400">
              <a:latin typeface="Tele-GroteskNor"/>
              <a:cs typeface="Tele-GroteskNor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762244" y="4067555"/>
            <a:ext cx="1714500" cy="612775"/>
          </a:xfrm>
          <a:custGeom>
            <a:avLst/>
            <a:gdLst/>
            <a:ahLst/>
            <a:cxnLst/>
            <a:rect l="l" t="t" r="r" b="b"/>
            <a:pathLst>
              <a:path w="1714500" h="612775">
                <a:moveTo>
                  <a:pt x="0" y="612520"/>
                </a:moveTo>
                <a:lnTo>
                  <a:pt x="1714500" y="612520"/>
                </a:lnTo>
                <a:lnTo>
                  <a:pt x="1714500" y="0"/>
                </a:lnTo>
                <a:lnTo>
                  <a:pt x="0" y="0"/>
                </a:lnTo>
                <a:lnTo>
                  <a:pt x="0" y="612520"/>
                </a:lnTo>
                <a:close/>
              </a:path>
            </a:pathLst>
          </a:custGeom>
          <a:solidFill>
            <a:srgbClr val="FFC5E1">
              <a:alpha val="2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763005" y="4068317"/>
            <a:ext cx="1714500" cy="612775"/>
          </a:xfrm>
          <a:custGeom>
            <a:avLst/>
            <a:gdLst/>
            <a:ahLst/>
            <a:cxnLst/>
            <a:rect l="l" t="t" r="r" b="b"/>
            <a:pathLst>
              <a:path w="1714500" h="612775">
                <a:moveTo>
                  <a:pt x="0" y="612520"/>
                </a:moveTo>
                <a:lnTo>
                  <a:pt x="1714500" y="612520"/>
                </a:lnTo>
                <a:lnTo>
                  <a:pt x="1714500" y="0"/>
                </a:lnTo>
                <a:lnTo>
                  <a:pt x="0" y="0"/>
                </a:lnTo>
                <a:lnTo>
                  <a:pt x="0" y="612520"/>
                </a:lnTo>
                <a:close/>
              </a:path>
            </a:pathLst>
          </a:custGeom>
          <a:ln w="19812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583423" y="3857244"/>
            <a:ext cx="216407" cy="20878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142488" y="2949702"/>
            <a:ext cx="115570" cy="10096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238626" y="1668780"/>
            <a:ext cx="4555490" cy="1348740"/>
          </a:xfrm>
          <a:custGeom>
            <a:avLst/>
            <a:gdLst/>
            <a:ahLst/>
            <a:cxnLst/>
            <a:rect l="l" t="t" r="r" b="b"/>
            <a:pathLst>
              <a:path w="4555490" h="1348739">
                <a:moveTo>
                  <a:pt x="4545203" y="0"/>
                </a:moveTo>
                <a:lnTo>
                  <a:pt x="0" y="1314704"/>
                </a:lnTo>
                <a:lnTo>
                  <a:pt x="9651" y="1348359"/>
                </a:lnTo>
                <a:lnTo>
                  <a:pt x="4554982" y="33781"/>
                </a:lnTo>
                <a:lnTo>
                  <a:pt x="4545203" y="0"/>
                </a:lnTo>
                <a:close/>
              </a:path>
            </a:pathLst>
          </a:custGeom>
          <a:solidFill>
            <a:srgbClr val="E0007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14"/>
              </a:spcBef>
            </a:pPr>
            <a:fld id="{81D60167-4931-47E6-BA6A-407CBD079E47}" type="slidenum">
              <a:rPr spc="-5" dirty="0"/>
              <a:t>4</a:t>
            </a:fld>
            <a:endParaRPr spc="-5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51B09CFD-7A4A-143E-897C-334EFC35A5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1708" y="1220639"/>
            <a:ext cx="8376412" cy="18185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object 15"/>
          <p:cNvSpPr/>
          <p:nvPr/>
        </p:nvSpPr>
        <p:spPr>
          <a:xfrm>
            <a:off x="3142488" y="2284666"/>
            <a:ext cx="1828800" cy="286415"/>
          </a:xfrm>
          <a:custGeom>
            <a:avLst/>
            <a:gdLst/>
            <a:ahLst/>
            <a:cxnLst/>
            <a:rect l="l" t="t" r="r" b="b"/>
            <a:pathLst>
              <a:path w="2493010" h="614045">
                <a:moveTo>
                  <a:pt x="0" y="614045"/>
                </a:moveTo>
                <a:lnTo>
                  <a:pt x="2492883" y="614045"/>
                </a:lnTo>
                <a:lnTo>
                  <a:pt x="2492883" y="0"/>
                </a:lnTo>
                <a:lnTo>
                  <a:pt x="0" y="0"/>
                </a:lnTo>
                <a:lnTo>
                  <a:pt x="0" y="614045"/>
                </a:lnTo>
                <a:close/>
              </a:path>
            </a:pathLst>
          </a:custGeom>
          <a:ln w="19812">
            <a:solidFill>
              <a:srgbClr val="E0007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136551" y="2273201"/>
            <a:ext cx="1828800" cy="297879"/>
          </a:xfrm>
          <a:custGeom>
            <a:avLst/>
            <a:gdLst/>
            <a:ahLst/>
            <a:cxnLst/>
            <a:rect l="l" t="t" r="r" b="b"/>
            <a:pathLst>
              <a:path w="2493010" h="614045">
                <a:moveTo>
                  <a:pt x="0" y="614045"/>
                </a:moveTo>
                <a:lnTo>
                  <a:pt x="2492883" y="614045"/>
                </a:lnTo>
                <a:lnTo>
                  <a:pt x="2492883" y="0"/>
                </a:lnTo>
                <a:lnTo>
                  <a:pt x="0" y="0"/>
                </a:lnTo>
                <a:lnTo>
                  <a:pt x="0" y="614045"/>
                </a:lnTo>
                <a:close/>
              </a:path>
            </a:pathLst>
          </a:custGeom>
          <a:solidFill>
            <a:srgbClr val="FFC5E1">
              <a:alpha val="2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61F11B7-AE27-3038-8D3E-DD43A783AD43}"/>
              </a:ext>
            </a:extLst>
          </p:cNvPr>
          <p:cNvCxnSpPr>
            <a:stCxn id="6" idx="1"/>
          </p:cNvCxnSpPr>
          <p:nvPr/>
        </p:nvCxnSpPr>
        <p:spPr>
          <a:xfrm flipH="1">
            <a:off x="4235450" y="1921093"/>
            <a:ext cx="4989794" cy="363573"/>
          </a:xfrm>
          <a:prstGeom prst="straightConnector1">
            <a:avLst/>
          </a:prstGeom>
          <a:ln w="28575">
            <a:solidFill>
              <a:srgbClr val="E200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28">
            <a:extLst>
              <a:ext uri="{FF2B5EF4-FFF2-40B4-BE49-F238E27FC236}">
                <a16:creationId xmlns:a16="http://schemas.microsoft.com/office/drawing/2014/main" id="{B299050D-C446-43CA-4644-0D962F44C0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5767" y="3212253"/>
            <a:ext cx="4647444" cy="293615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28575">
          <a:solidFill>
            <a:srgbClr val="E20074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6</Words>
  <Application>Microsoft Office PowerPoint</Application>
  <PresentationFormat>Benutzerdefiniert</PresentationFormat>
  <Paragraphs>33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TeleGrotesk Headline Ultra</vt:lpstr>
      <vt:lpstr>Tele-GroteskNor</vt:lpstr>
      <vt:lpstr>Wingdings</vt:lpstr>
      <vt:lpstr>Office Theme</vt:lpstr>
      <vt:lpstr>think-cell Folie</vt:lpstr>
      <vt:lpstr>Reisekostenabrechnung nach  der Betriebsversammung am  16.05.2023</vt:lpstr>
      <vt:lpstr>Aktueller Stand Reisekosten - Betriebsversammlung</vt:lpstr>
      <vt:lpstr>Seite 1 - Reisekostenabrechnung</vt:lpstr>
      <vt:lpstr>Seite 2 - Reisekostenabrechnu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reichsreview</dc:title>
  <dc:creator>Däschle, Frank</dc:creator>
  <cp:lastModifiedBy>Hueske, Hubert</cp:lastModifiedBy>
  <cp:revision>1</cp:revision>
  <dcterms:created xsi:type="dcterms:W3CDTF">2023-03-15T13:31:07Z</dcterms:created>
  <dcterms:modified xsi:type="dcterms:W3CDTF">2023-05-05T08:2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5-20T00:00:00Z</vt:filetime>
  </property>
  <property fmtid="{D5CDD505-2E9C-101B-9397-08002B2CF9AE}" pid="3" name="Creator">
    <vt:lpwstr>Microsoft® PowerPoint® für Microsoft 365</vt:lpwstr>
  </property>
  <property fmtid="{D5CDD505-2E9C-101B-9397-08002B2CF9AE}" pid="4" name="LastSaved">
    <vt:filetime>2023-03-15T00:00:00Z</vt:filetime>
  </property>
</Properties>
</file>